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360" r:id="rId3"/>
    <p:sldId id="359" r:id="rId4"/>
    <p:sldId id="376" r:id="rId5"/>
    <p:sldId id="372" r:id="rId6"/>
    <p:sldId id="367" r:id="rId7"/>
    <p:sldId id="369" r:id="rId8"/>
    <p:sldId id="370" r:id="rId9"/>
    <p:sldId id="362" r:id="rId10"/>
    <p:sldId id="375" r:id="rId11"/>
    <p:sldId id="365" r:id="rId12"/>
    <p:sldId id="366" r:id="rId13"/>
    <p:sldId id="361" r:id="rId14"/>
    <p:sldId id="356" r:id="rId15"/>
    <p:sldId id="355" r:id="rId16"/>
    <p:sldId id="341" r:id="rId17"/>
    <p:sldId id="352" r:id="rId18"/>
    <p:sldId id="364" r:id="rId19"/>
    <p:sldId id="368" r:id="rId20"/>
    <p:sldId id="363" r:id="rId21"/>
    <p:sldId id="371" r:id="rId22"/>
    <p:sldId id="357" r:id="rId23"/>
  </p:sldIdLst>
  <p:sldSz cx="12192000" cy="6858000"/>
  <p:notesSz cx="7104063" cy="10234613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36.6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2 2150 3864,'-2'-10'1989,"3"9"-1931,12-4 1369,34 5 399,-28 0-954,56-6 203,0-4-1,81-21 1,-23 3-149,-85 18-444,55-22-1,-67 20-426,1 1 1,0 2 0,45-6 0,4 2 492,0-3 0,86-29 1,-83 21-341,110-47 0,123-62-296,-193 85 105,32-14 143,-32 4 660,65-29-853,-62 30 27,-48 9 30,-39 21-4,63-32 63,126-48 0,-79 46 59,140-58 42,-245 100-384,90-22 0,-88 28 215,86-34 1,-78 20 27,115-45-143,39-13-67,-142 58 72,149-35 0,-173 51 62,155-34-381,-62 15 610,121-11 49,-228 38-249,87-12 57,-118 14-40,123-28 461,-83 19-508,47-6 0,28-6-137,-99 17 31,24-6-62,73-10-1,28-1 433,24-1-681,-14 5 488,-13 1 404,133-11-34,-248 24-337,46-14 1,-48 10-41,50-7 0,443-60 677,-514 75-702,58-10 125,-8 0-99,0 2 1,1 3 0,57 1-1,-84 5 272,41-2 0,-28 0-178,-29 1 34,0-1 0,0 1 1,1-2-1,11-2 0,32-4-210,-49 7-97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2.98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52 282 9504,'0'0'0,"-4"0"0,-10 0 0,-8 0-576,-8 0 576,-6 0-568,-3-1 568,-2-1 1248,1 0-1248,2-2 1248,5-1-1248,2-1 1512,4-2-1512,3-1 1512,4 0-1512,2-1 640,1 0-640,0-1 640,-1-1-640,0-1 0,-1-2 0,0-1 0,1 1 0,1 1 704,-1 1-704,2 2 703,4 2-703,3 2-919,3 2 919,2-1-912,1 0 912,0-3 384,-1 0-384,0-1 384,0 0-384,1 3-1784,0 1 1784,2 1-1776,0 1 1776,1 3-3608,0 0 3608,0 0-3600,0 2 3600,0-1-960,0 0 960,0 0-952,0 1 952,0-1-600,0 2 600,1 1-592,1 4 592,1 4-600,1 1-432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02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2 904 0 0,'0'0'0'0'0,"16"-27"0"0"0,16-12 0 0 0,16-27-200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1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04 992 0 0,'0'0'0'0'0,"19"-20"0"0"0,13-12 0 0 0,19-19-26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8.3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1 1080 0 0,'0'0'0'0'0,"2"-14"0"0"0,2-13 0 0 0,1-12-336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42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13624 0 0,'0'0'0'0'0,"28"3"0"0"0,23-1 0 0 0,-24-2-2416 0 0,-9 0 2416 0 0,-8-14-2416 0 0,3 0-3096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59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6 0 7800 0 0,'0'0'0'0'0,"-18"13"0"0"0,0-2-5376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7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8 10760 0 0,'0'0'0'0'0,"23"-17"0"0"0,18-15 0 0 0,21-16-7592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9.89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3 5296 0 0,'0'0'0'0'0,"18"-18"0"0"0,14-7 0 0 0,-39 41-1152 0 0,0 13 1152 0 0,-2-8-976 0 0,0-2 976 0 0,4-8-968 0 0,5-2 968 0 0,-5 11-928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05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69 1 11744 0 0,'0'0'0'0'0,"-39"5"0"0"0,-30 6 0 0 0,32-4-4184 0 0,14-2 4184 0 0,40-5-4184 0 0,31-4 4184 0 0,18 3-1008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27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10760 0 0,'0'0'0'0'0,"-23"14"0"0"0,-13 11 0 0 0,26-13-2680 0 0,6-10 2680 0 0,27-18-2680 0 0,-10 7 3672 0 0,1-1 8 0 0,0 2-1000 0 0,0 3-5320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47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2728 0 0,'0'0'0'0'0,"0"17"0"0"0,10-20-2336 0 0,10-3-640 0 0,-4 6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3.55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4 13 8248,'0'0'0,"0"0"0,2 0 0,0 0 456,0 0-456,0 0 464,-2 0-464,-2-1-344,-2 0 344,0-1-336,-2 0 336,0 1-2416,-1-1 2416,2 0-2416,1 1 2416,2 1-1664,0-1-328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6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9 992 0 0,'0'0'0'0'0,"7"-26"0"0"0,6-17 0 0 0,6-26-264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77 10584 0 0,'0'0'0'0'0,"14"-40"0"0"0,12-25 0 0 0,-11 24-3728 0 0,-5 11 3728 0 0,-10 44-3728 0 0,-10 34 3728 0 0,-3 14-936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0.91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20 6368 0 0,'0'0'0'0'0,"25"-21"0"0"0,19-17 0 0 0,23-22-4296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10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2016 0 0,'0'0'0'0'0,"11"23"0"0"0,12 18 0 0 0,-12-23-3984 0 0,-3-11 3984 0 0,7 0-3976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2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1 9504 0 0,'0'0'0'0'0,"-16"14"0"0"0,-11 11 0 0 0,18-11-440 0 0,13-1 440 0 0,10-8-432 0 0,9-1 432 0 0,14 4-5888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37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2 1 5112 0 0,'0'0'0'0'0,"-25"9"0"0"0,-16 5 0 0 0,-25 9-3360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55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21 86 6104 0 0,'0'0'0'0'0,"-23"-16"0"0"0,-15-11 0 0 0,-22-16-4104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1.98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0 10584 0 0,'0'0'0'0'0,"-18"23"0"0"0,-7 18 0 0 0,-19 21-7464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18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7 1 3768 0 0,'-33'27'1008'0'0,"-31"34"0"0"0,70-66-645 0 0,1 1 0 0 0,-1 0 0 0 0,1 1 0 0 0,0-1 0 0 0,7-2 0 0 0,25-13 923 0 0,-35 16 203 0 0,-3 3-1936 0 0,0-1 1 0 0,1 0 0 0 0,-1 0 0 0 0,1 0-1 0 0,-1 0 1 0 0,0 0 0 0 0,0 0 0 0 0,0 0-1 0 0,0 0 1 0 0,0-1 0 0 0,0 1 0 0 0,0 0 0 0 0,0-1-1 0 0,0 1 1 0 0,0 0 0 0 0,0-3 0 0 0,1-8-801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3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0 4936 0 0,'0'0'0'0'0,"-7"27"416"0"0,7-11 0 0 0,7-32-4272 0 0,-1-2 2984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82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30 151 1080,'0'0'0,"-5"-1"0,-9 1 0,-9-1 1120,-10-1-1120,-4 0 1128,0-1-1128,1 0-856,0-1 856,0-1-856,-2-3 856,-2-1-24,-1-2 24,2-1-16,4-1 16,5 2-72,3 0 72,2 0-64,-3-1 64,-7-4-584,1 0-272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5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73 14704 0 0,'0'0'0'0'0,"23"0"0"0"0,15 2 0 0 0,-19-2-1408 0 0,-6 3 1408 0 0,-13-15-2344 0 0,0-2 1528 0 0,0 3 8 0 0,0-3 808 0 0,0-13-6320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65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 1 8072 0 0,'0'0'0'0'0,"-5"19"0"0"0,-1 19 0 0 0,3-21 1464 0 0,3-6 8 0 0,9-22-1472 0 0,-6-1 720 0 0,2 1 0 0 0,-1-6-720 0 0,-4 6-2120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8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8 11568 0 0,'0'0'0'0'0,"0"25"0"0"0,-3 17 0 0 0,-1-24-3360 0 0,4-9 3360 0 0,-5-36-3352 0 0,3 13 2400 0 0,-5 0 952 0 0,2 3-944 0 0,1-1 944 0 0,-3-11-150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2.9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5 7176 0 0,'0'0'0'0'0,"28"-11"0"0"0,18-8 0 0 0,-25 10 344 0 0,-5 4 0 0 0,-42 24-344 0 0,1 1-5504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12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00 9328 0 0,'0'0'0'0'0,"37"-74"0"0"0,30-53 0 0 0,36-72-6520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3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 107 9864 0 0,'0'0'0'0'0,"30"-29"0"0"0,25-20 0 0 0,-37 29 0 0 0,-18 11 0 0 0,-9 31 0 0 0,-14 22 0 0 0,5-8-1384 0 0,2-3 1384 0 0,4-8-1384 0 0,3-7 1384 0 0,-11 25-4496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4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96 12280 0 0,'0'0'0'0'0,"13"-16"0"0"0,4-16 0 0 0,12-16-8736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70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11 1 8608 0 0,'0'0'0'0'0,"-22"14"0"0"0,-11 12 0 0 0,-22 14-5976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8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7 1 1264 0 0,'0'0'0'0'0,"-10"8"0"0"0,-8 7 0 0 0,-11 8-472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3.9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2 9688 0 0,'0'0'0'0'0,"16"-9"0"0"0,16-4 0 0 0,-20 13 968 0 0,-10 7-968 0 0,-4 4 968 0 0,-5 3-968 0 0,0-1 288 0 0,-2-3 0 0 0,0 4-288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6.98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0 4128,'0'0'0,"2"2"0,4 5 0,1 0 952,-1 0-952,-1-2 960,-2-2-960,-1-1 144,-3-1-144,-1-2 152,-2-2-152,0 1-1752,0-1 1752,1 1-1752,2 1 1752,0 1 536,-2-2-536,1 1 536,-2-1-536,1 0-1040,0 1 1040,1 0-1032,1 0 1032,0 1-640,1 0-552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05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1 7352 0 0,'0'0'0'0'0,"-6"25"-2464"0"0,3-13 8 0 0,3-3 2456 0 0,-4 11-736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18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92 0 0,'0'0'0'0'0,"-9"14"0"0"0,-5 11 0 0 0,3-2 8 0 0,-1 0-8 0 0,7-8 8 0 0,5-10 0 0 0,0 7 8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33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7624 0 0,'0'0'0'0'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46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11120 0 0,'0'0'0'0'0,"0"14"0"0"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63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 0 1624 0 0,'0'0'0'0'0,"-3"14"0"0"0,-1 1 0 0 0,2 2 0 0 0,2-2 0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79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3 7984 0 0,'0'0'0'0'0,"5"-13"696"0"0,8 19 0 0 0,1 6-696 0 0,0 2-2680 0 0,-3 1 8 0 0,1-1 800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4.94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7 40 5920 0 0,'0'0'0'0'0,"0"-14"0"0"0,0-11 0 0 0,-5 44-3792 0 0,1-8 3704 0 0,-1 3 88 0 0,-7-7-88 0 0,1-1-88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12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87 992 0 0,'0'0'0'0'0,"14"-18"0"0"0,9-6 0 0 0,15-21-264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27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92 0 0,'0'0'0'0'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46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0 9864 0 0,'0'0'0'0'0,"-7"18"0"0"0,0 10 0 0 0,-9 19-692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60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 12 10760,'0'0'0,"0"0"0,-1-2 0,-3-3-7592,1 0 4424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60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47 11656 0 0,'0'0'0'0'0,"20"-9"0"0"0,12-5 0 0 0,19-9-8264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5.76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3 1080 0 0,'0'0'0'0'0,"27"-23"0"0"0,-27 38-64 0 0,-4-1 0 0 0,1 0-160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36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3088 0 0,'0'0'0'0'0,"25"18"0"0"0,1-2-9336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53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0 1 992 0 0,'0'0'0'0'0,"-14"25"0"0"0,-2 1-264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6.72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9 0 10584 0 0,'0'0'0'0'0,"-6"14"0"0"0,-2 8 0 0 0,-7 15-7464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09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4792 0 0,'0'0'0'0'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25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 13536 0 0,'0'0'0'0'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38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0 11744 0 0,'0'0'0'0'0,"-17"18"0"0"0,-14 11 0 0 0,-18 17-8328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7.9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7 0 11032 0 0,'0'0'0'0'0,"-9"13"0"0"0,-5 6 0 0 0,-9 13-7800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23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52 12376 0 0,'0'0'0'0'0,"15"-9"0"0"0,8-9 0 0 0,14-7-8808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8 0 7352,'0'0'0,"3"2"0,3 4 0,2 1 408,-3 0-408,-2-1 408,-3-2-408,-4-4-664,-3-2 664,0 0-664,-1-2 664,1 0 1088,1 0-1088,1 1 1088,1 1-1088,1 1 416,2 0-416,1 1 424,0 0-424,0 0-2352,0 0 2352,0 0-2344,1 0 2344,-1 0-1080,0 2 1080,0 2-1072,2 2 1072,1 3-568,2 1 568,3 2-568,3 2 568,3 2-296,2 0 296,2 2-296,3 1 296,1 0-16,3 1 16,0 0-8,0 1 8,0 1-16,1-1 16,-1 0-8,2 1 8,4 3-448,-2-2-336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41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0 212 3144 0 0,'0'0'0'0'0,"-25"16"0"0"0,-16 16 0 0 0,22-14 2728 0 0,5-4-2728 0 0,37-28 2736 0 0,28-23-2736 0 0,-12 8 840 0 0,5-3-840 0 0,-15 9 848 0 0,-10 9-848 0 0,-1 0-784 0 0,-4 0 784 0 0,9-11-784 0 0,2-7 784 0 0,24-25-5872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54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1 22 13360 0 0,'0'0'0'0'0,"-23"16"0"0"0,-11 11 0 0 0,22-16-3392 0 0,10-6 3392 0 0,27-19-3384 0 0,21-11 3384 0 0,25-16-3616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70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1 9328 0 0,'0'0'0'0'0,"-14"23"0"0"0,-13 14 0 0 0,25-17 1016 0 0,11-10-1016 0 0,-9 3 1024 0 0,-3-8 80 0 0,13-9-1104 0 0,11-4-2432 0 0,-6 1 8 0 0,-1-2 2424 0 0,14-9-4632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8.9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81 0 8880 0 0,'0'0'0'0'0,"-40"15"0"0"0,-26 8 0 0 0,25-7-3064 0 0,8-2 3064 0 0,56-21-3056 0 0,37-20 3056 0 0,23-7-832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3 1 12192 0 0,'0'0'0'0'0,"-18"5"0"0"0,-10 7 0 0 0,-18 4-8664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31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0136 0 0,'0'0'0'0'0,"23"12"0"0"0,14 4 0 0 0,23 13-7128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51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11384 0 0,'0'0'0'0'0,"23"0"0"0"0,14-3 0 0 0,-23 3-2296 0 0,-10 0 2296 0 0,-27 14-2296 0 0,10-9 576 0 0,6-1 1720 0 0,-11 5-944 0 0,6-1 1712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6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8 992 0 0,'0'0'0'0'0,"20"-17"8"0"0,-8 20 0 0 0,-15 22-8 0 0,-1 2-280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76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19 6456 0 0,'0'0'0'0'0,"2"-23"0"0"0,1-13 0 0 0,3-24-4368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39.879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5 19 2872 0 0,'0'0'0'0'0,"-16"-2"0"0"0,-10-5 0 0 0,-17-2-168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7.9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1 992,'0'0'0,"4"1"0,10 4 0,10 3 576,11 4-576,7 1 576,4 0-576,4-2-400,1-2 400,2-1-392,5-3 392,2 0 1184,3-1-1184,-1 0 1184,-2-1-1184,-4 1 1160,-5-1-1160,-4 1 1160,-4-1-1160,-5 0-288,-2 0 288,-3 0-288,-3-1 288,-4 0-768,-4 1 768,-4-1-760,-2 1 760,-1 0-2288,-2 0 64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0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5 1 1888 0 0,'0'0'0'0'0,"-23"2"0"0"0,9 10-272 0 0,0 4 272 0 0,3-7-264 0 0,-1 0-208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42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 13448 0 0,'0'0'0'0'0,"92"23"0"0"0,60 18 0 0 0,-56-16-4856 0 0,-15 1 4856 0 0,-28-6-4856 0 0,-21-1 4856 0 0,53 22-1112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58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1 1 5296 0 0,'0'0'0'0'0,"-9"14"0"0"0,-2 13 0 0 0,-10 12-3496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75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98 4 10400 0 0,'0'0'0'0'0,"-30"10"0"0"0,-25 12 0 0 0,42-12 144 0 0,22-1-144 0 0,5-7 152 0 0,9-4-152 0 0,0-3-376 0 0,6-2 376 0 0,-15 5-376 0 0,-7 2 376 0 0,4-5-2888 0 0,3-13 0 0 0,0 0 960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0.89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4 1 8792 0 0,'0'0'0'0'0,"-16"26"0"0"0,-13 20 0 0 0,21-23 824 0 0,8-7-824 0 0,15-17 832 0 0,16-14-832 0 0,-7 0 0 0 0,8-5 0 0 0,-16 9 0 0 0,-3 2 0 0 0,4 4-2136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0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45 25 8432 0 0,'0'0'0'0'0,"-32"18"0"0"0,-19 10 0 0 0,17-10-1768 0 0,6-2 1768 0 0,44-21-1760 0 0,34-15 1760 0 0,-13 2-2240 0 0,0-5 2240 0 0,37-16-1240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18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3 1 8792 0 0,'0'0'0'0'0,"-21"19"0"0"0,-9 13 0 0 0,21-16 688 0 0,9-3 8 0 0,-12 1-696 0 0,24-18-2672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35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0 9504 0 0,'0'0'0'0'0,"13"11"0"0"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57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9864 0 0,'0'0'0'0'0,"18"18"0"0"0,10 11 0 0 0,-19-15-536 0 0,-9-9 536 0 0,-16-16-2040 0 0,5 8 544 0 0,-3 6 1496 0 0,0-1-1360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7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26 10312 0 0,'0'0'0'0'0,"14"-7"0"0"0,13-8 0 0 0,-16 12-1248 0 0,-4 3 1248 0 0,-14 11-1248 0 0,-7 3 600 0 0,-1-2 0 0 0,1-1-360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096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60 20 1528,'0'0'0,"-4"-1"0,-7-2 0,-10-5-672,-3 0-184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1.8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72 11656 0 0,'0'0'0'0'0,"3"-27"0"0"0,6-17 0 0 0,-4 69-8304 0 0,1 1 7304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04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0 10672 0 0,'0'0'0'0'0,"17"27"1160"0"0,-11-17 8 0 0,1 5-1168 0 0,-5-1-384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14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4 6368 0 0,'0'0'0'0'0,"21"-13"0"0"0,-1 3-4296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3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2 12280 0 0,'0'0'0'0'0,"19"0"0"0"0,17-2 0 0 0,-26 2 800 0 0,-6 2 0 0 0,-16-2-336 0 0,-4 0 8 0 0,3-2-472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516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96 9688 0 0,'0'0'0'0'0,"10"-16"0"0"0,8-16 0 0 0,10-16-6792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704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7 1 5656 0 0,'-7'107'8537'0'0,"7"-104"-8569"0"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2.86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160 7352 0 0,'0'0'0'0'0,"2"-32"0"0"0,1-16 0 0 0,2-32-5040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03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52 86 12280 0 0,'0'0'0'0'0,"-40"-19"0"0"0,-22-15 0 0 0,30 14-4400 0 0,14 8 4400 0 0,45 17-4392 0 0,29 13 4392 0 0,-13-13-424 0 0,1-5 424 0 0,-10 4-416 0 0,-2 1 416 0 0,33 4-1408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190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1 6 8520 0 0,'-26'17'182'0'0,"21"-14"-50"0"0,-1 0 1 0 0,0 1-1 0 0,1 0 0 0 0,0 0 1 0 0,0 0-1 0 0,0 1 0 0 0,1 0 1 0 0,-6 7-1 0 0,9-12-78 0 0,1 0 0 0 0,0 1 0 0 0,-1-1 0 0 0,1 0-1 0 0,0 1 1 0 0,0-1 0 0 0,-1 0 0 0 0,1 1 0 0 0,0-1 0 0 0,0 0 0 0 0,0 1 0 0 0,0-1-1 0 0,-1 1 1 0 0,1-1 0 0 0,0 0 0 0 0,0 1 0 0 0,0-1 0 0 0,0 1 0 0 0,0-1 0 0 0,0 1-1 0 0,0-1 1 0 0,0 0 0 0 0,0 1 0 0 0,0-1 0 0 0,0 1 0 0 0,0-1 0 0 0,1 1 0 0 0,-1-1-1 0 0,0 0 1 0 0,0 1 0 0 0,0-1 0 0 0,0 0 0 0 0,1 1 0 0 0,-1-1 0 0 0,0 0 0 0 0,0 1-1 0 0,1-1 1 0 0,-1 0 0 0 0,0 1 0 0 0,1-1 0 0 0,-1 0 0 0 0,0 1 0 0 0,1-1 0 0 0,-1 0-1 0 0,0 0 1 0 0,1 0 0 0 0,-1 1 0 0 0,1-1 0 0 0,-1 0 0 0 0,0 0 0 0 0,1 0-1 0 0,-1 0 1 0 0,1 0 0 0 0,26 2 1266 0 0,-21-2 558 0 0,32-46-12850 0 0,-3 6 8952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3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52 0 9776 0 0,'0'0'0'0'0,"-18"15"0"0"0,-10 6 0 0 0,23-9 1424 0 0,7-6 8 0 0,-2 6-864 0 0,12-5 0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5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54 285 992,'0'0'0,"-3"-1"0,-7-4 0,-6-4 1384,-6-1-1384,-3-1 1384,0 0-1384,2-1 1568,2 1-1568,1-2 1568,1-1-1568,-1-1 2216,1-2-2216,0 0 2224,3 2-2224,2 2 960,2 2-960,1 1 968,0 1-968,-2-1 32,-2 0-32,-2-1 32,-1 1-32,-1 1 248,-2 1-248,1 1 248,0 2-248,0 1 312,2 1-312,1 1 320,2 1-320,5 0 144,1 1-144,2 0 144,2 1-144,3-1-1264,0 0 1264,2 0-1256,0 0 1256,1 0-8,-1 0 8,0 0 0,2 1 0,1 1 272,1 1-272,4 3 280,2 1-280,4 3-224,3 0 224,3 2-224,4 2 224,3 1-576,2 0 576,2 2-576,1 1 576,1 0 320,1 2-320,1 0 320,1 0-320,1-1-40,1 0 40,0-1-40,-1-2 40,-1-1 176,0-2-176,0-2 176,0-1-176,4-1-48,4 0 48,3-1-40,-1 0 40,-2 0 40,-1 1-40,-2-1 40,-1 1-40,-1-1 392,-1-2-392,0 0 400,1-1-400,2-2-280,2 0 280,3 0-280,0-1 280,0 0 424,-1 0-424,-1 0 432,-2 1-432,-2-2-296,-2 1 296,-5-2-288,-3 0 288,-5-1-184,-2-1 184,-1 0-176,-1-2 176,-1 1-272,-2-1 272,-3 1-272,-2 0 272,-5 1 264,-3 1-264,-2 0 272,-2 0-272,-1 1 112,-1 0-112,1 0 120,-1 0-120,1 1-3912,-4-1 3912,-2 0-3904,-3 1 3904,-4 0-2016,0 1-592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3.47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87 1 9056 0 0,'0'0'0'0'0,"-23"16"0"0"0,-11 16 0 0 0,31-18 768 0 0,17-3-768 0 0,-23 1 768 0 0,-5-3-768 0 0,-4 2-3104 0 0,39-17 8 0 0,-1 1 1056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51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104 7352 0 0,'0'0'0'0'0,"14"-20"0"0"0,13-12 0 0 0,12-20-5040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701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3 0 13720 0 0,'0'0'0'0'0,"-3"15"0"0"0,-3 6 0 0 0,3-9 368 0 0,3-3 0 0 0,3 2-368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4.82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0 65 10848 0 0,'0'0'0'0'0,"27"-13"0"0"0,15-6 0 0 0,28-13-7656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143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06 24 10672 0 0,'0'0'0'0'0,"-32"14"0"0"0,-15 9 0 0 0,27-14 1248 0 0,13-9 8 0 0,19-18-1256 0 0,6 7 184 0 0,7-3-184 0 0,-13 5 192 0 0,-5 4-192 0 0,8-7-1000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315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43 0 8432 0 0,'0'0'0'0'0,"-14"29"0"0"0,-9 22 0 0 0,17-24-736 0 0,6-11 736 0 0,20-39-728 0 0,-8 12-1208 0 0,2 2 1936 0 0,1-7-1928 0 0,-1-1 560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47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66 1 14256 0 0,'0'0'0'0'0,"-23"33"0"0"0,-10 24 0 0 0,24-21-872 0 0,10-11 872 0 0,17-34-872 0 0,18-25 872 0 0,-15 7-3784 0 0,0-3 3784 0 0,-7 9-3776 0 0,-3 10 3776 0 0,1-3-808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45.59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38 0 11120 0 0,'0'0'0'0'0,"-13"23"0"0"0,-3 18 0 0 0,9-18 496 0 0,7-7-496 0 0,-2-3 496 0 0,2-8-496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4-07T15:35:11.454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1 1 24575,'0'0'-8191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3.5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0 842 24575,'3'13'0,"61"156"0,-41-117 0,-3 1 0,14 58 0,-33-107 0,5 28 0,-6-31 0,1 1 0,-1-1 0,0 1 0,0 0 0,0-1 0,0 1 0,0-1 0,0 1 0,-1 0 0,1-1 0,0 1 0,-1-1 0,1 1 0,-1-1 0,-1 3 0,-2-46 0,-50-149 0,37 137 0,1 6 0,-3 1 0,-44-82 0,-71-75 0,132 200 0,-14-17 0,2-1 0,-13-24 0,24 39 0,0 0 0,0 0 0,0 0 0,1 0 0,0-1 0,1 1 0,0-1 0,0 1 0,0-1 0,1 0 0,1-13 0,0 18 0,0 0 0,0 0 0,0 0 0,1 0 0,-1 0 0,1 1 0,-1-1 0,1 0 0,0 1 0,0-1 0,0 1 0,1 0 0,-1 0 0,0 0 0,4-3 0,47-26 0,-37 22 0,134-67 0,177-62 0,-201 87 0,-89 36-7,33-13-135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8.70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41 136 3416,'0'0'0,"-3"-1"0,-7-2 0,-6-1-912,-4 0 912,-6-1-912,-4-2 912,3 2-48,6 1 48,-1-1-40,-5-3 40,-5-2-40,-4-2 40,-4-3-40,0-1 40,-8-3-584,6 1-256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14.1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8 24575,'3'0'0,"-1"-1"0,1 1 0,0-1 0,-1 0 0,1 0 0,-1 0 0,0 0 0,1 0 0,-1 0 0,4-3 0,5-2 0,79-32 0,2 5 0,148-34 0,-197 59-455,1 2 0,76-2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3.2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31 24575,'-2'188'0,"6"245"0,-1-390 0,2 0 0,19 75 0,-17-93 0,1 0 0,2 0 0,0-1 0,2 0 0,25 40 0,-33-59 0,0 0 0,0 0 0,1 0 0,-1 0 0,1-1 0,0 1 0,0-1 0,1 0 0,-1-1 0,1 1 0,0-1 0,0 0 0,0-1 0,0 0 0,10 3 0,-7-3 0,1-1 0,0 0 0,0-1 0,-1 0 0,1-1 0,0 0 0,-1 0 0,1-1 0,13-4 0,9-6 0,-2-1 0,0-1 0,-1-2 0,0 0 0,27-22 0,-46 30 0,0-1 0,0 0 0,0-1 0,-1 0 0,0-1 0,-1 1 0,-1-2 0,1 1 0,-2-1 0,0 0 0,9-25 0,0-9 0,17-95 0,-20 83 0,-9 45 0,11-55 0,10-102 0,-23 147 0,0 0 0,-2 1 0,0-1 0,-2 0 0,-1 1 0,0 0 0,-2 0 0,-13-34 0,15 46-151,1 1-1,0-1 0,0 1 0,0-1 1,1 0-1,1 0 0,0 0 1,0-20-1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4.3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24575,'-8'182'0,"-40"227"0,32-296 0,2-11 0,-1-14 0,5 2 0,1 113 0,9-202 0,0-1 0,0 1 0,1 0 0,-1-1 0,0 1 0,0 0 0,1-1 0,-1 1 0,0 0 0,1-1 0,-1 1 0,1-1 0,-1 1 0,1-1 0,-1 1 0,1-1 0,-1 1 0,1-1 0,-1 1 0,1-1 0,0 0 0,-1 1 0,1-1 0,1 1 0,25 5 0,39-5 0,-49-1 0,103-3 0,175-26 0,-239 22 0,109 1 0,-162 6-151,0 0-1,-1-1 0,1 1 0,0 0 1,0-1-1,0 1 0,0-1 1,4-2-1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16T07:02:2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1 1 24575,'-9'32'0,"-47"134"0,-73 224 0,15-37 0,114-352 0,-1 0 0,1 1 0,0-1 0,-1 0 0,1 0 0,0 1 0,0-1 0,-1 0 0,1 1 0,0-1 0,0 0 0,1 1 0,-1-1 0,0 0 0,0 1 0,1-1 0,-1 0 0,1 1 0,-1-1 0,2 2 0,0-1 0,-1-1 0,1 1 0,0-1 0,1 1 0,-1-1 0,0 0 0,0 0 0,5 2 0,5 2 0,11 5 0,1-1 0,0-2 0,0 0 0,1-1 0,27 2 0,127 3 0,-40-4 0,-3-1-13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865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790 1933 992,'0'0'365,"-4"2"-247,-8 3 132,0 0-1,0-1 1,-1 0 0,0-1 0,0 0 0,0-1 0,0 0 0,-14 0 0,-177 8 7408,138-3-7162,-69 18-1,109-21-209,0 0-1,-35 0 1,-11 1 390,38-2-101,-56-2 1,64-2-377,0 0 1,0 2-1,0 1 1,-29 6-1,2 1-202,-92 6-1,65-8 11,-101-2 64,95-4 24,26 1-3,-112-3 446,-73-14-388,-72-6 147,145-5-166,73 10-130,-154-25 533,232 36-429,0 0 0,0-1 0,0-1 0,1-1 0,-30-15 0,26 12-64,-2 0 0,-38-11 1,-2 10 201,20 4 52,-18 1-263,5 1 108,13-1 12,24 4 45,1-1 0,-22-6 0,35 8-157,1 0 0,-1 1 0,1 0 0,-1 0 0,-10 0 0,9 1-39,0 0 0,0-1 0,-10-2 0,-10-2 1,1 1 0,-57-1 0,50 4-48,-47-7-1,24-1 23,-1 2 0,-77 1 0,110 5 24,-27-5 0,0 1 2,20 1 61,-1-2 1,1 0 0,-44-15 0,48 12-59,-4 1 43,0-3 1,1 0 0,-53-27-1,63 28-39,-1-1-1,1 2 0,-30-8 0,-75-15 8,52 15-1,29 5 20,0-1-1,-79-34 0,114 41-30,-1-1 0,-16-12 0,17 10-19,-26-13 1,-14-3-67,-84-28 0,125 50 58,1-1-1,-1 0 1,1 0-1,0-1 1,0 0-1,1-1 1,-1 0-1,1 0 1,1 0 0,-1-1-1,1 0 1,-9-12-1,-19-20 61,22 26-31,-15-21 0,-13-19-54,27 36 79,0 0-1,2-1 0,-19-35 1,28 43-72,0 0 1,0 0 0,2 0 0,-1 0 0,1-14-1,-3-29-408,2 38 381,0 1 1,2-1 0,1-17 0,8 17-226,-1 4 219,14-21 57,2 1 1,1 2-1,46-43 0,-36 42-55,1 1 0,2 2 0,1 1 0,47-22 0,-5 8 176,145-52 0,68-21-930,-258 102 827,66-13 1,25-8-48,-84 20-50,81-12 0,-64 13-119,1 1 171,0 2 0,1 2-1,63 2 1,161-6 247,-78-1-99,-68 1-550,-64 13 478,-15 0-16,78 1 102,84-2 136,8-8-234,-43 2-133,161 7-265,-195 1 481,72-13 345,-26 0-386,-30 7-62,139 2-579,154 6 999,-457-6-412,588 15-284,-423-4 314,45 1 211,-207-12-271,81 1-94,0 3 0,102 17 0,73 10 564,-67-10-97,-81-10-192,-70-8-500,78 14 0,13 8-156,-6-2 1041,-62-5-541,-39-9-94,42 6 0,-66-13 69,0-1-1,-1 1 1,1 1-1,0-1 1,-1 1-1,8 4 1,-8-4 8,1 0 1,0 0-1,-1 0 1,1-1-1,12 3 1,26 5 250,52 16 1,-75-19-369,63 23 404,-46-15-646,-28-10 481,0 0 1,0 1-1,0 1 1,13 10-1,15 9-56,-3-2 139,-36-24-187,1 0 1,-1 1-1,1-1 0,-1 0 0,0 0 0,1 0 1,-1 0-1,1 0 0,-1 1 0,1-1 0,-1 0 1,0 0-1,1 1 0,-1-1 0,0 0 0,1 0 1,-1 1-1,0-1 0,1 0 0,-1 1 1,0-1-1,0 1 0,1-1 0,-1 0 0,0 1 1,0 0-1,5 6-104,32 18-73,-33-23 158,0 1-1,-1-1 0,1 1 0,0 0 0,-1 0 1,6 6-1,-3 1-57,0 1 0,8 17 0,-8-15 83,19 38-41,-23-47 62,0 0 0,0 0 0,0 0 1,-1 0-1,0 0 0,0 0 0,0 0 0,0 1 1,-1-1-1,0 0 0,0 1 0,0-1 0,-2 8 1,2-9-25,-1 2-6,1 1 1,0-1-1,1 1 0,1 8 1,-1-11 61,0 0 0,0 1 1,-1 0-1,0-1 0,0 1 0,0-1 1,-1 6-1,0-8-54,1 1 0,0-1 0,0 1 0,-1-1 0,1 1 0,0-1 0,1 1 0,-1-1 0,0 1 0,0-1 0,1 3 0,0-3-17,-1 0 0,1 0 0,-1 1 0,0-1 0,0 0-1,0 1 1,0-1 0,0 0 0,0 0 0,0 1 0,0-1 0,-1 0 0,1 0 0,0 1 0,-1-1 0,1 0 0,-2 1 0,1 0 11,0 1 0,1-1-1,-1 0 1,1 0 0,-1 0 0,1 0 0,0 1 0,0-1 0,0 0-1,0 0 1,0 0 0,1 3 0,-1-4-19,0 0 0,0 0 0,0 0 0,0 0 0,0 0 0,-1 0 0,1 0 0,0 0 0,0-1 0,-1 1 0,1 0-1,-1 0 1,1 0 0,-1 0 0,0 1 0,-4 11 4,4-9 61,0 0 0,0 0 0,0-1 0,0 1-1,-1 0 1,0-1 0,1 1 0,-2-1 0,1 1 0,0-1 0,-1 0 0,1 0 0,-7 6 0,-1-1 81,1 0-1,-1 0 1,-16 9 0,-12 12 91,35-26-149,0 0 1,0 0-1,0 0 1,-5 8-1,1-1-135,-14 7-720,-41 25 1,38-27 758,-22 19-1,25-18-83,-33 19 1,-3 3 29,51-35 40,0 1 0,0-1 1,0 0-1,0-1 0,-11 4 0,11-4 18,-1 0 0,1 1 0,0 0-1,0 0 1,-6 4 0,-4 4-74,0 0 0,-1-1-1,0 0 1,0-2 0,-28 11 0,-81 19 92,84-25-258,1 2 0,-52 25 0,48-19 449,-1-3-1,-55 16 1,16-12-174,-58 18-205,103-24-644,29-11 796,-1-1 0,0 1 0,0-2 0,0 1 0,-14 1 0,-6 0 218,0 1 1,-37 11 0,-49 12-356,47-12 186,20-3-83,30-7 150,-42 8 0,-69 13-441,24-3 478,-26 5-75,61-14-98,-59 10 18,88-20 141,1 1 1,-83 25 0,95-24-109,0-1 1,-1-1-1,1-2 0,-2 0 1,-32-2-1,-38 5 41,-101 12-73,-1-5 908,131-11-847,-27-5 321,25-1-348,-157-3-177,138 4 113,60 2 25,-1-1 0,-61-9 0,87 8 4,-165-27 577,144 25-798,-47-14 0,14 3 258,-167-47 95,200 54 161,-1 1-1,-61-7 0,17 4-160,32 4-30,-84-1 0,-17-1 114,37-9-132,59 9-39,37 5-7,-1 1 0,1 0 1,-16 0-1,-20-3 22,41 3-15,0 1 1,-1 0 0,1 0-1,-1 0 1,1 1 0,-1 0-1,-9 2 1,10-1-11,1 0-1,0-1 1,0 0-1,0 0 1,-1 0 0,1 0-1,0-1 1,-11-2-1,-4-2 89,-24-10-1,10 4 151,-97-33-237,43 27-109,39 8-51,-47-18 138,28 7 53,-14-5 236,51 14-90,-63-12-1,32 13-389,-146-29 276,197 35-58,0 0 0,-18-9 0,19 8-27,0 0-1,-23-6 1,-25-4-105,-34-8 110,78 20-1,1 1 1,-1 1 0,0 0-1,-21 1 1,23 0-56,1-1 0,-1 0 0,0 0 1,-18-5-1,-20-3 129,46 9-44,1-1 0,0 0 0,-1-1 0,1 1 0,0-1 0,0 1 0,0-1 0,0 0 0,-5-4 0,5 3 33,0 1-1,0 0 1,-1 0-1,1 0 1,-1 0-1,0 0 1,-5-1-1,-40-7-24,-55-19-1,33 8-287,45 12 226,0-1 1,-44-22-1,0-1-47,60 28 117,0-1 0,0 0-1,-14-10 1,6 3 39,-26-11-61,-96-72 78,104 74-32,29 18-76,0 0-1,0-1 1,0 0-1,1 0 1,-8-7 0,-17-12-232,-8-11 490,38 33-211,0-1 0,1 1 0,0-1 0,0 1-1,-1-1 1,2 1 0,-1-1 0,0 0 0,0 1-1,1-4 1,-3-8-7,1 6-316,1 1 1,0-1-1,0 0 0,1-12 1,1 9-224,-1 9 439,1 0 1,0 1-1,-1-1 1,1 1-1,0 0 0,0-1 1,0 1-1,0 0 1,1-1-1,1-1 1,0 0-61,13-11-493,-12 11 506,0 0-1,-1-1 1,1 1 0,-1-1 0,0 0 0,0 1 0,3-6 0,0 3 113,0-1 0,0 1 0,0 1 0,1-1 0,0 1 0,1 0 0,11-6 0,2-2-302,0 1 171,0 1 0,0 1 1,2 1-1,35-11 1,4-1 133,-19 2 434,53-29 1,-51 24-473,62-22-182,-51 24 316,94-28-154,-79 27-79,58-19-193,4 7-117,-88 24 376,94-17 624,48-16-134,-119 34-92,97-5-1,-149 14-235,146-12 923,-92 7-1093,122 2 1,13-1 717,244-14-541,-210 14 169,-191 4-217,203 5 142,-120-7-6,-32-1-116,-83 3 91,-1 0-1,22-5 1,21-1 212,189-9 534,-113 4-614,-49 3-232,-22 2-38,127 2 205,-163 5-124,28 0-80,180-3 49,-126-1-260,0 5 1,175 20-1,-24-7 548,-52-6 133,-122-3-460,17 3-53,24-1 3,-40-2 25,-1-2 11,-56-3 2,1 1 0,39 7-1,7 2 6,-48-7-122,37 8-1,162 42 296,-145-38-166,-48-9 48,63 18-1,35 14-650,-99-29 664,60 9 0,-77-15 14,13 1 157,-20-3-172,1 0 0,-1 1 0,12 3-1,25 7-53,-31-8 66,-1 0 0,0 0 0,0 1-1,17 9 1,59 28-512,-87-42 317,-3 0 36,20 22-142,-18-20 215,0 0 0,0 1-1,0-1 1,0 0-1,1 0 1,-1-1-1,0 1 1,1-1 0,0 1-1,4 0 1,45 8-203,-12-3-143,-19-2 79,4 2 71,32 10 0,-49-12 69,-1 1 0,1 0-1,8 7 1,39 33-42,-40-35 140,-14-10-11,0 0 1,0 0-1,0 1 1,0-1-1,0 1 1,0-1-1,0 1 1,0 0-1,-1 0 1,1 0-1,1 3 1,-1 1 22,0-1 0,-1 1 1,0 0-1,0-1 0,-1 1 0,0 0 1,0 7-1,-1-5-9,2 1-1,-1-1 0,3 11 1,-3-14 59,1 1 1,-1-1 0,0 0 0,0 0 0,-2 8 0,1-8-43,0 1 0,1 0 0,0 0 0,0 7 0,1-8-69,0 1 0,-1 0 0,0 0 0,-1-1 0,1 1 1,-1 0-1,-1-1 0,1 1 0,-5 9 0,-2 9 283,7-20-194,-1 0 0,1 0 0,-1 1 0,0-2 0,0 1-1,-1 0 1,1 0 0,-1 0 0,-4 3 0,-3 3 30,-1 0 1,-22 15-1,24-19-131,1 0-1,-1 0 0,1 1 1,1 0-1,0 1 1,-11 14-1,12-14 137,-1 1-1,0 0 1,0-1 0,-1-1 0,0 1 0,-16 11-1,-61 32-24,71-44-55,-28 13-354,33-17 347,0 1 0,0 1-1,0-1 1,0 1 0,-9 8 0,11-8 34,1 0 0,-1-1 0,-1 0 1,1 0-1,0 0 0,-14 4 0,-52 11-88,22-6-16,-22 10-2470,-34 14 3689,58-19-809,-111 50-1792,-88 11 33,5-3 142,80-23-4427,-45 11 4574,147-49 849,-15 6 82,53-14 159,-1-1 1,0 0 0,-28 2-1,-21 4-153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19.13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9 992,'0'0'0,"6"1"0,10 0 0,11 1 2904,13 1-2904,9 2 2912,6 1-2912,2 0 1312,0 0-1312,-2 0 1312,-1-2-1312,-2 0 656,1 0-656,-1-1 656,1 1-656,1-1 632,-1 1-632,0-1 632,-1-2-632,-1-2-368,1-1 368,-1-3-360,-1-1 360,-1-1-3504,-2 0 3504,-3 0-3504,-6 0 3504,-4 0-792,-2 2 792,-3 0-784,-3 1 784,-2 1-528,-3 1 528,-2 0-528,-3 0 528,-3 1-624,-4 0-392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0.07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992,'0'0'0,"4"1"0,7 0 0,12 2-264,1 1-464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2.23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0 1800,'0'0'0,"0"0"0,5 1 0,5 1 2992,5-1-2992,1 1 2992,2 0-2992,-1 1 1232,1 1-1232,-1 0 1240,1 0-1240,1 1 784,2 0-784,2-1 792,2 1-792,2 0 328,3-1-328,3 2 336,3-1-336,3 0 0,4 1 0,2 1 8,2-2-8,2 1 16,0-2-16,0 0 24,2-2-24,1 0-304,2-1 304,2-1-304,3-1 304,-1 0 512,-1-1-512,-2 0 512,-2-1-512,-2-1 104,-2-1-104,0-1 104,-2-1-104,-2 0 0,-3 1 0,-3 0 0,-4 1 0,-5 0 104,-2 2-104,-2 1 104,-1 1-104,-1 1 344,-1 2-344,-2 0 344,-3 0-344,-2 0-8,-2 0 8,-2-1 0,-2 1 0,-3 0-264,-2 1 264,-3-1-256,-1 0 256,-1 0-208,0-1 208,-1-1-200,1 0 200,-1 0 248,-1 1-248,-5 1 248,-3 1-248,-4 0-1360,-3 1 1360,-4-2-1352,-2 0 1352,-3-1-3304,-4 1 3304,-2-2-3304,-2 0 3304,-10-1-1928,4-1-448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4.671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99 50 1080,'0'0'0,"2"3"0,3 4 0,2 3 1752,-1-1-1752,-5-5 1752,-6-6-1752,-6-6 976,-5-3-976,-2-2 984,0-1-984,4 3 960,2 2-960,3 3 968,3 1-968,2 3-384,2 1 384,0 1-384,0 0 384,1 0-248,3 1 248,2-1-248,1 1 248,3 0 288,2 0-288,3 1 288,3 2-288,3 0-2152,1 0 2152,2 0-2144,-1 0 2144,4 2-1600,-2-1-288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2:26.0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1 238 2872,'0'0'0,"0"0"0,0 0 0,0 0 3424,-3-1-3424,-2-3 3424,-4-3-3424,-3-1 1552,-5-4-1552,-1 0 1560,0-1-1560,-2 0 1312,-2 1-1312,0 0 1320,2 1-1320,1 1 328,-1 1-328,-3-1 328,-4-2-328,-1 1-288,-2-1 288,1 1-288,2 1 288,3 0 432,3 1-432,3 0 432,4 3-432,2 1 255,3 1-255,3 1 264,2 2-264,2 0-583,1 1 583,1 0-576,0 0 576,1 1-664,-1-1 664,3 0-656,4 1 656,7 1 232,8 1-232,9 0 232,6 3-232,6 2-1416,7 1 1416,5 1-1408,4 2 1408,4 2-3680,3 2 3680,2 2-3680,-1 3 3680,9 6-2152,-7-1-42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35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837 992,'0'0'0,"6"-1"0,12-1 0,13-3 8,14-1-8,13-3 8,13-2-8,10-2 1624,5-3-1624,-1 1 1624,-4-1-1624,-7 2 112,-5 1-112,-1 1 120,4-1-120,1 0 1496,-3 0-1496,-4 0 1496,-3 1-1496,-3-1 488,-1 0-488,-1 0 488,1-1-488,0 0 224,1-2-224,0 0 224,0-1-224,-1-2-1616,1 0 1616,-2-2-1608,-2 0 1608,-1-1 624,2-1-624,4-3 632,5-3-632,2-3-576,-2-1 576,-5 1-576,-4 2 576,-5 2-864,-1 3 864,-6 3-856,-7 3 856,-6 4-112,-3 2 112,-3 0-104,0 1 104,-1 1-104,0 0 104,-2 0-104,-3 2 104,-4 1 104,-2 3-104,-4 0 104,-2 2-104,-1-1-2432,-2 1 1016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55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2046 0 992,'0'0'0,"-3"3"0,-7 4 0,-5 6 1248,-7 6-1248,-3 5 1248,-5 1-1248,-3 2-928,-2-1 928,-1 0-920,-1-2 920,-4 0-24,-1-2 24,-3 0-16,-2 0 16,-3 0 1200,-1 1-1200,-1-1 1208,-2 1-1208,-3 0 736,-3 1-736,-6 1 744,-8 2-744,-7 4 1376,-6 2-1376,-3 2 1384,-2 0-1384,-1-1-896,-1-1 896,3-2-896,3-3 896,4-4-1744,4-5 1744,5-3-1736,6-4 1736,-4 0-1320,10-3-336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65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30 0 992,'0'0'0,"-1"0"0,-5 0 0,-5 0-264,-1 0-464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5.942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 662 1080,'0'0'0,"10"-2"0,22-4 0,23-4 1568,23-3-1568,16-4 1576,12-2-1576,6-2-312,2-2 312,-2 0-312,-2 1 312,-3-1-808,-2-1 808,-4 0-808,-5 1 808,-4 1 584,-1 2-584,-2 0 584,-2-1-584,-3-1-600,-3-3 600,-3-1-592,-1-2 592,-5-1 2112,-6 2-2112,-7 2 2120,-9 3-2120,-6 2-320,-2 1 320,-1 0-320,0 0 320,10-6-3608,-4 3 1664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6.667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98 853 992,'0'0'0,"-9"3"0,-15 4 0,-19 7 3080,-17 5-3080,-9 4 3088,-2-1-3088,0 0 1040,-4 0-1040,1-1 1040,2-4-1040,4-2 1280,2-2-1280,4-2 1288,3-2-1288,3-2 168,2 0-168,0 0 168,1 0-168,0 0-408,2 1 408,1-1-408,2 0 408,2-1 352,2-2-352,3-1 352,3-1-352,4-1-896,3 0 896,4 0-888,4 1 888,4 0-568,3 0 568,4-1-568,2 0 568,3 0-2736,3-1 2736,1 0-2736,2 0 2736,1 0-672,3 0 672,2 0-664,3 0 664,2 0-352,5 0 352,4-1-352,6-1 352,4 0 904,3-1-904,3 0 904,3-2-904,4 0 3192,3-1-3192,3-1 3192,2-1-3192,2 1 744,2-1-744,1 0 752,1 0-752,0 0 1520,2 0-1520,0 0 1520,0-2-1520,1-1 48,-2-3-48,1-1 48,-1-1-48,2-1 544,0 0-544,2 0 544,2 1-544,-1 0 0,1 0 0,-1-1 8,-2 1-8,0 0 256,-1 0-256,1 0 264,-2 1-264,0 0 599,0 2-599,-2 0 600,-4 2-600,-3 1 8,-5 1-8,0-1 16,2 0-16,4-2 424,3-1-424,2 0 432,0-1-432,-1-1-72,-1-1 72,-2-2-64,0-2 64,0-1-344,2-1 344,2-1-336,1-2 336,3 1-8,3-1 8,1 2 0,-1 1 0,0 1 0,-2 1 0,0 1 0,1 1 0,3-1-240,8 0 240,2 1-240,0 1 240,-3 0-1303,-5 0 1303,-2 1-1296,-4-1 1296,0 0-1240,1-1 1240,0 1-1232,-1 0 1232,0 0-1472,-2 2 1472,-3 1-1472,-2 1 1472,-2 2-1216,-2 1 1216,-1 1-1216,-2 2 1216,-3 1 1224,-2 1-1224,-5 2 1232,-4 1-1232,-4 1-2528,-4 2 2528,-5 0-2528,-4 1 2528,-5 0-672,-2 0 672,-3 1-664,-2-1 664,-1-1-376,-2 0 376,-2 0-368,-3 0 368,-5 2-696,0 0-29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4.983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47 0 992,'0'0'0,"-22"4"0,-15 2 0,8 0 8,-2-1-8,3-1 8,0 0-8,0-1 8,0-1-8,1 2 16,-3 2-16,-28 3-304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37.1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1085 6008,'0'0'0,"4"-1"0,7-4 0,9-3 2232,8-3-2232,5-2 2240,2-1-2240,0 0 1992,0 0-1992,2 0 1992,4-2-1992,5-2 920,4-1-920,5-1 928,4-2-928,4-1 607,1 1-607,3-2 616,0 0-616,3-2 8,7-1-8,5-2 8,3 0-8,2-1 232,-1-2-232,-2 1 232,-2 0-232,1 1 200,0 1-200,1 2 208,-1 0-208,-3 2-16,0 0 16,-3 1-8,-5 3 8,1 0-528,4 1 528,5 0-528,2 2 528,2-1-384,2 0 384,0 1-376,3 1 376,1 0-1303,2 1 1303,-1 0-1296,-1 1 1296,-1-1-592,2-1 592,-2 0-592,0 0 592,-2 1-336,1 2 336,0 2-336,2 3 336,1 1-1712,-1 3 1712,-4 1-1704,-5 1 1704,8 0-5632,-12 1 2552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1.464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5433 392 1080,'0'0'0,"0"0"0,-2 0 0,-2 0 32,0 0-32,1 0 40,1 0-40,0 0 0,2 0 0,-1 0 0,1 0 0,1 0 1400,-1 0-1400,0 0 1408,0 0-1408,0 0 1944,0 0-1944,0 0 1944,0 0-1944,0 0 768,-3-2-768,-4-1 776,-7-3-776,-6-2 608,-8-1-608,-6-2 608,-3 1-608,0 0-8,-2 0 8,-1 1 0,-3-1 0,-2-1-744,-5 1 744,-3 0-736,-5 1 736,-3 0-2456,-2 0 2456,-3 1-2448,-2 0 2448,-6 0-480,-8-1 480,-6 0-472,-2-1 472,0 1-752,3-1 752,5 0-752,7 1 752,3 0-208,-2 0 208,-2 0-200,-2 1 200,-4 0-24,-2 0 24,-3 1-16,-2-1 16,-1 1-24,1 0 24,2 0-24,2 0 24,1 0-16,0 0 16,2 0-8,1 0 8,5 1 1160,7 1-1160,8 1 1168,5-1-1168,3 1 704,2 1-704,1 0 712,-1 0-712,-1 2 624,-2 2-624,1 0 624,-1 3-624,1 0-352,2 2 352,-1 1-352,0 1 352,1 0-448,-2 1 448,0 1-440,0 0 440,0 0 616,1 1-616,0 0 616,1 2-616,1 0-520,-1 1 520,0 0-520,1 0 520,-2-1 624,1 1-624,1-1 632,0 1-632,0-2 240,2 0-240,1-1 240,2 1-240,2 0-264,1 1 264,1 0-264,-2 1 264,0 1 432,-2 2-432,-1 1 440,-1 2-440,2 2-664,1 0 664,3 0-656,3-1 656,3 1-1464,4 1 1464,4 0-1456,3 0 1456,3 0 264,3-1-264,2-1 272,3-1-272,2 0-736,2-2 736,2 0-736,0-2 736,2 0-136,1-2 136,0 0-128,1-1 128,1 0-16,1 1 16,1 0-16,0 1 16,0-2-72,0-4 72,0 0-64,1 3 64,1 3 288,1 3-288,3 1 288,1 2-288,1 1-288,1-1 288,0 0-288,1-1 288,0-1 288,1-1-288,2 0 288,0 0-288,3 0-272,2 1 272,1-1-272,2 0 272,2-2-8,3-1 8,3-2-8,5 0 8,3-2-16,5 1 16,5 0-16,2 0 16,3 1-16,2-1 16,2 0-16,0 0 16,11 0-464,-7-1-328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2.638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876 1617 992,'0'0'0,"0"0"0,0 0 0,0 0 112,0 0-112,0 0 120,-2 1-120,-2 1 1632,-4 1-1632,-4 0 1640,-3 1-1640,-4 2 536,-6 1-536,-4 0 536,-5 1-536,-3-1-1256,-5 0 1256,-3-2-1256,-3 0 1256,-4 0-504,-3 2 504,-3 1-504,-2 0 504,-3 0 1696,0-1-1696,-1 0 1696,-1-1-1696,-1 0 848,0-1-848,0 0 856,-1 1-856,0-1 648,1 1-648,-3-2 656,-4 1-656,-1-2 504,2 1-504,2-1 512,4 0-512,2 0 64,3-1-64,1-2 64,2 0-64,-2-2-2216,-1 0 2216,0-1-2216,-1-1 2216,0 0 1664,1 1-1664,0 0 1672,2-1-1672,2 0 256,1-1-256,1-1 264,1-1-264,2-1-544,1-2 544,1 0-544,4-1 544,3 0 1088,3 0-1088,2 0 1096,3-1-1096,2 0 200,2-1-200,1 1 208,2-1-208,2 1-8,0 1 8,1-1 0,0-1 0,-1 0 960,-1-1-960,-1-1 968,0 0-968,-1 0 360,-1 1-360,0 0 360,-1 0-360,0 1-16,-1 1 16,1 0-16,-1 1 16,1 1-72,0 1 72,-1 0-72,0 0 72,-1 1-1280,-2-1 1280,0 1-1272,-1 0 1272,-1 1-88,1 0 88,0 1-88,0-1 88,0 0 8,0 0-8,0-2 16,0 0-16,-1 0 616,2 1-616,0 0 624,-1-2-624,0-2 664,0-2-664,-2-2 672,0-1-672,-2-1 656,-1-1-656,1 0 656,0 1-656,2-1 560,3 1-560,3 1 568,3 0-568,4 0 0,1 1 0,3 0 0,4 1 0,3 1-272,2 0 272,1-1-272,-2-2 272,0-2 48,-2-2-48,2-1 48,0 1-48,1 2-448,2 1 448,3 2-448,1 3 448,4 0-16,3 1 16,2-1-8,2-1 8,2-2 8,4-1-8,1-2 8,1 0-8,1 0-16,3 1 16,4-2-8,6-2 8,6-3-8,6-2 8,3 0-8,3 1 8,2 2-112,2 1 112,0 3-104,-4 2 104,0 4 112,1 2-112,4 0 120,5 0-120,4 0-360,3-1 360,2 0-352,-1 0 352,-2 1-1320,0 0 1320,-1 0-1320,3 0 1320,1-1-1704,1 0 1704,4-1-1696,6 0 1696,3 1-224,-3 0 224,-4 2-224,-4 2 224,-3 0-1232,-3 0 1232,-1 1-1232,0 0 1232,0-1-496,0 1 496,-1 0-496,0 0 496,-1 0-712,0 1 712,0-1-704,1 2 704,0 1-120,1 1 120,-2 2-112,-1 0 112,-2 0-40,0 0 40,-1-1-32,2 1 32,1-1 0,3 1 0,2 1 0,-1 0 0,1 2-80,-1-1 80,-2 1-80,0 0 80,6 0-544,-6-1-296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49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4364 21 992,'0'0'0,"4"1"0,8 2 0,8 3 712,7 1-712,4 1 712,3 3-712,-5-2 928,-7-2-928,-2 1 936,0 3-936,3 2-448,0 2 448,0 2-448,1 1 448,-2 1-8,-2 0 8,-2 0-8,-3 0 8,-3 1 312,-1-1-312,-3 1 320,-2 1-320,-1 0 296,-3 0-296,-1 1 296,-3-1-296,-3 2-1232,-1-1 1232,-3 0-1232,-2 1 1232,1-5 2776,2-4-2776,-2-1 2784,-2 3-2784,-4 3 784,-4 4-784,-3 2 784,-1 0-784,-2 0 312,-1 0-312,1 0 312,1-2-312,1-1 144,1 0-144,0-1 152,0 0-152,-1-1-496,-2-1 496,-2 0-488,-2-1 488,-4-1-888,-3-2 888,-3 0-888,-1-2 888,-1 0 424,-3 0-424,-1 0 432,-1-1-432,-2 0 400,-1 0-400,-4-1 400,-2 0-400,-3-1 576,-3 0-576,-1 0 576,-1 0-576,-1 0 464,1-1-464,1 0 472,-1-1-472,-2 1 464,-7 0-464,-2 0 464,2 2-464,4-1 448,5-1-448,3-2 456,2-1-456,0-1-8,1-1 8,-1-1-8,-2 0 8,-2-1 568,-1-1-568,-4-1 576,-6-1-576,-6 0 704,-3-1-704,0-1 704,5 1-704,7-1 728,6 1-728,5 0 735,5 0-735,1-1 376,1-1-376,0-1 376,0 1-376,0 1 80,-1 0-80,2 0 88,1 1-88,2-1 56,1 0-56,1-2 56,0-2-56,0 0 344,-1-2-344,0-2 344,0 0-344,-1 1 0,0 0 0,-1 0 0,1-1 0,1-2-8,0-2 8,-1-1-8,0-2 8,1 0-72,0 1 72,3-1-72,2 1 72,3 0-136,3 0 136,3 1-136,3-1 136,2 0 24,4-1-24,4 2 32,3 1-32,5 1-40,2 0 40,2 1-40,2 0 40,2-1-264,0-1 264,3 0-256,1 0 256,2 1-456,1 0 456,3-2-448,2-5 448,4-5-184,3-5 184,2-1-176,1 2 176,-1 3-351,2 3 351,4 3-344,5-2 344,7 0-408,5-1 408,3 0-400,-2 2 400,-1 2 0,0 2 0,2 2 0,4 0 0,3 0-600,4-1 600,3 1-592,0 0 592,1 1-352,1 2 352,0 1-344,2 1 344,2 0-304,2 0 304,1-1-296,2 1 296,0-1-1272,1 2 1272,-1 0-1272,-1 2 1272,0 0-872,-1 1 872,2 0-872,6-1 872,2 1 208,-1 1-208,-3 1 208,-6 2-208,-5 1-1552,-2 0 1552,-2 1-1552,0 1 1552,-1 0-1408,1 2 1408,1 1-1408,-1 1 1408,9 4-1184,-7 0-32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29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1519 53 1080,'0'0'0,"-3"1"0,-7 3 0,-7 3 1528,-7 3-1528,-7 0 1528,-5 2-1528,-4-1 2096,-3-1-2096,-3 0 2096,-2-3-2096,-1 1 1360,-1-2-1360,1 0 1368,1-1-1368,1-2 512,0 0-512,0-1 520,0-1-520,-1-2 280,-1 1-280,-2-2 280,0 0-280,0-2 0,1 1 0,2-1 0,3-1 0,1 0-520,1-1 520,1-1-520,1 0 520,1-2 416,2 0-416,2 0 424,5 0-424,4 1 344,4-1-344,3 2 352,3 0-352,4 0-1064,2 0 1064,3 1-1056,3 0 1056,2 1-3352,1 1 3352,2 2-3344,2-2 3344,3-3-1936,0-1-456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875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3"0"0,7 0 0,11 0-72,2 0-584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43.923"/>
    </inkml:context>
    <inkml:brush xml:id="br0">
      <inkml:brushProperty name="width" value="0.35" units="cm"/>
      <inkml:brushProperty name="height" value="2.1" units="cm"/>
      <inkml:brushProperty name="color" value="#004F8B"/>
      <inkml:brushProperty name="inkEffects" value="pencil"/>
    </inkml:brush>
  </inkml:definitions>
  <inkml:trace contextRef="#ctx0" brushRef="#br0">0 0 728,'0'0'0,"5"1"0,7 0 0,9 2 32,8 1-32,4 2 40,2 0-40,6 0-136,-4 0-528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6:32.82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3918 12824,'3'-1'-1867,"6"-4"1626,0 1 1,0 1-1,1 0 1,-1 0-1,1 1 1,-1 0-1,11 0 1,73-1 2048,-82 3-2033,17-3 645,11 1 60,-30 3-329,0-1 0,-1-1 1,1 1-1,0-1 1,-1-1-1,1 0 0,-1 0 1,15-6-1,-12 3 58,1 2-1,-1 0 0,24-3 1,115-13 304,-53 11-337,132-27 0,-205 29 255,32-7-573,-52 12 126,-1 1-1,1-1 1,0 1 0,0 0 0,0 0-1,0 1 1,-1-1 0,1 1-1,0 0 1,0 0 0,5 2-1,-5-2 12,79-7 322,-37 3 69,17-6 303,-26 2-426,-28 5-278,1 0 0,-1 0 1,16 1-1,-5-1 90,0 0-1,20-6 1,7-1 53,10 1-113,-8 0 202,85-3 0,-111 9-164,0-1-1,1 0 1,39-13 0,-12-4 220,-40 14-219,1 1 0,23-7 1,83-25 399,10 0-442,-96 26 85,53-27-1,19-7-41,-42 31 30,-50 12 3,-1 0 0,1 0 0,-1-1 1,0-1-1,0 0 0,0 0 1,20-12-1,34-22-285,-51 29 195,1 0 1,0 1-1,1 1 0,0 0 1,0 1-1,26-7 0,24-8-106,32-31 129,11 15 17,-62 23 108,13-13-38,-22 8-117,186-80 159,-119 53-234,-51 21 133,1 3 1,62-17-1,82-18 169,-159 46-180,-2-1-1,0-2 1,0-2 0,49-29 0,-55 30 43,0 1 0,2 1 0,47-11 0,-34 11 298,112-33-745,-148 43 366,0 0-1,0 1 0,0 0 0,19 0 0,-14 2-4,1-2 0,-1 0 0,0-1 1,0-1-1,0 0 0,21-9 0,311-104 737,-327 111-775,0-1-1,31-14 1,-28 10-5,1 2 0,44-11 0,-47 15 127,0-1 1,0-2 0,-1 0 0,36-19 0,-40 18-30,0 1 0,1 0 0,24-6 0,24-11-199,87-37 65,-85 35 26,127-32 1,-170 53 81,0 0 0,0-2 0,0-1 0,-1-1 0,28-16 0,-38 19 56,1 0 0,-1 1-1,27-7 1,29-12 60,-24 6-145,0 1 1,2 3-1,77-14 0,-92 22-6,46-5-39,-42 7 11,-28 4 30,-1 0 0,1 0 0,-1-1 0,1 0-1,9-4 1,-8 2 5,0 0-1,1 1 0,-1 0 1,1 1-1,-1 0 0,1 1 1,15 0-1,-20 0-2,-1 0 0,1 0 0,-1-1 0,0 1 0,1-1 0,-1-1 0,0 1 0,0-1-1,0 1 1,-1-1 0,8-7 0,-5 6-49,-1-1-1,1 1 0,0 0 1,12-4-1,79-21 135,59-19 156,-14-8 288,134-49-732,-163 56-6,-60 24 247,-31 17-19,40-10 0,-11 4 74,120-38 304,-157 48-389,1 1 1,0 1 0,20-2-1,-24 4 12,1-1 0,0-1-1,-1 0 1,1-1-1,-1 0 1,14-6-1,11-6 36,51-13 0,-58 19 31,-23 6-108,0 1 0,-1-1 0,0-1 0,1 1 0,7-7 1,-8 5-32,-1 2 1,1-1 0,1 0-1,-1 1 1,13-4 0,116-31-267,-56 16 357,-54 12 289,-17 7-261,1 0-1,0 0 1,1 1 0,-1 0-1,0 1 1,14-1 0,-19 2-71,0-1 0,0 1 0,0-1 0,0 0 0,0-1 0,-1 1 0,1-1 0,5-3 0,-7 4-2,1 0-1,-1-1 1,1 1-1,-1 0 1,1 0 0,0 1-1,-1-1 1,1 0 0,0 1-1,-1 0 1,1-1-1,4 1 1,3 0-27,0-1 0,-1 0 0,1 0 0,0-1 0,-1-1 0,1 0 0,-1 0 0,12-6 0,-10 4 34,0 1 0,1 0 0,-1 1 0,1 0 0,13-1 0,-13 2 16,1-1-1,0 0 1,21-9-1,-20 7 3,1 0 0,27-5 0,30-7-49,-55 12 1,-1 1-1,0 1 1,26-3-1,-15 3 25,0-1-1,-1-1 1,27-9 0,-26 6-9,0 2 0,48-6 0,-64 11-52,0-1-1,-1 0 1,19-7 0,-19 6 35,-1 0 0,1 1 1,0 0-1,0 0 1,11 0-1,50-1-37,73-13 0,39-2 197,-127 16 103,105-18 0,-143 17-223,0 1 0,35 2-1,-36 0-16,1 0-1,-1-1 0,27-5 0,14-8 35,-5 0 43,0 3 0,62-5 0,-103 14-81,-1 0-1,1-1 0,-1 0 1,17-7-1,17-5-52,-12 8 61,57-5-1,-35 7 22,-31 0 34,-1 0 0,0-2 0,0-1 0,-1 0-1,22-13 1,-21 10 99,39-15 475,-21 9-300,48-27 0,-21 7-1035,-42 23 642,118-73 64,-99 61 24,-26 14 154,1 1 0,36-14 0,-45 22-164,-6 1 1,1 1 0,0-1 0,-1-1 0,1 1-1,-1-1 1,0 0 0,0 0 0,0 0 0,8-8-1,-10 9 0,1 0 0,0-1 0,-1 1 0,1 0 0,0 1 0,6-3 0,-4 2-90,-1 0 1,1 0-1,-1-1 1,0 0 0,1 0-1,5-6 1,16-14 38,-11 8 48,0 1 1,33-22 0,-36 30-128,0 1-1,1 0 0,20-5 1,32-11 224,-52 16-94,-1 0-1,25-5 1,14-4-13,-8-2 23,50-11 0,5 8-334,-44 15 242,-44 1 74,-8 3 6,0-1 0,0 0-1,0-1 1,0 1 0,0 0 0,0-1-1,-1 1 1,1-1 0,-1 0-1,3-2 1,8-2-13,46-4-11,-28 4 61,0-1 0,38-14 0,-44 13-49,1 1 1,43-6-1,44 6-405,-81 4 421,0 2 0,42 3 0,0 0 45,-53-4 70,-14 1-86,0 0 0,0 1 0,0-1 0,0 2 0,0-1 0,0 1 0,0 0 0,12 4 0,-4-3-33,3-1 0,124 7-323,-69-2 162,80 12 71,-29 2 162,-8-4 184,-114-16-251,0 0 0,0 1 0,0-1 1,0 1-1,0 0 0,0-1 0,0 1 1,0 0-1,0 0 0,-1 0 0,4 3 1,6 4 76,6 1-67,-12-8-9,-4-2-6,1 1 0,-1 0 0,1-1 0,-1 1 0,1 0 0,-1 0 0,1 0 0,-1 0 0,1 1 0,-1-1 0,1 0 0,-1 1 0,1-1 0,-1 1 0,1-1 0,2 2 0,27 11-19,-25-11 11,-1 1 1,0-1-1,1 0 1,0-1-1,0 1 0,-1-1 1,9 0-1,81 14-174,-85-13-53,-7 3 229,19 5-259,50 7 298,-41-10 13,168 27 471,-84-15-433,-59-10-101,-52-8 12,27 8 1,-13-4-41,0 1 0,33 15 0,-39-17 28,0 0 0,1-1 1,-1 0-1,1-1 0,0 0 0,24-1 0,1 1 143,20 1-190,74-5-1,-24-2 431,-71 6-355,-28-1 8,1 0-1,0-1 1,-1 0 0,1-1 0,-1 0 0,14-3 0,78-11 436,-51 6-601,1 1 0,73 0 0,-104 7 162,5 1-8,0-1 0,0-2 0,0 0-1,0-2 1,28-9 0,-36 10-9,-1 0 0,1 1 0,0 1-1,0 0 1,0 2 0,22 1 0,-16-1-3,-1 0 1,35-5-1,160-21 44,-163 20 195,-34 3-212,1 1 1,24 1 0,246-4-665,-185 1 662,167-12 27,-253 14-62,-5 0 33,1 2 0,21 0-1,-10 1 4,44-3-1,-5-2-44,30 4 11,106 1 171,-162 0-108,15 1-94,88 14-1,114 23-316,-2-1 305,-69-7 62,-133-22 71,78 1-1,16 3 280,-109-7-336,0-2-39,0 3 0,-1 0 1,0 3-1,48 18 0,-71-23-1,1 0 0,0-1 1,0-1-1,0 0 0,19 0 0,-15-1-48,0 0 0,28 8-1,-13 1-66,236 68-284,-252-74 420,0 2 0,-1 0-1,1 1 1,-1 1 0,-1 0-1,0 1 1,0 1-1,28 25 1,-28-25-123,-7-5-163,-1-1 0,-1 1 0,13 11 0,-18-12 245,1 0 29,24 19-287,-18-16 299,14 10-7,-19-9-7,-2-2 10,0-3 6,1 0 0,-1 0 0,1 0 0,0 0 1,0 0-1,7 5 0,12 18 43,20 34 5,-27-41-39,-1 0 0,22 45 0,9 38-195,-26-68 803,-11-21-664,-1 0 0,0 0 0,5 20-1,-4-12-44,20 40-1,-17-42-20,-2 1-1,10 28 1,-14-31 118,3 10 51,7 43 0,-13-61-30,1 0 0,0 0-1,1 0 1,4 10-1,3 6 53,-9-19-28,0 1 0,-1-1 0,0 1 0,0-1 0,-1 1 0,0 14 0,-1-17-45,1 1 0,0 0-1,0-1 1,0 1 0,1 0 0,-1-1 0,1 1-1,1-1 1,-1 1 0,1-1 0,4 9 0,-4-11-4,0 3-1,0-1 0,-1 0 0,1 1 0,-1-1 0,0 1 0,-1-1 0,1 1 0,-1-1 0,0 1 0,-2 10 0,2-7-1,0 2 14,0-8-14,0-1 0,0 1 1,-1-1-1,1 1 0,-1-1 0,1 1 0,-1-1 0,0 0 0,0 1 0,-2 3 0,-3 8 10,5-12-27,-4 44 78,2-34 47,1 0 0,-2 0-1,0-1 1,-10 22 0,12-29-12,-5 9-272,0-1-1,0 1 1,-2-1 0,-16 19 0,12-14 231,-19 20-39,6-6-2,23-14 26,2-4 459,-2-11-524,-11 9 18,-5 4 4,3-1 0,-22 21 85,20-19-250,-30 35 0,16-10 54,-40 48-229,69-85 349,0 0-1,-1 0 1,2 1-1,-1-1 1,0 1-1,1 0 1,0 0-1,0 0 1,0 0-1,-1 6 1,3-9-4,-1-1-1,1 1 1,-1-1 0,0 1 0,0-1 0,1 1 0,-1-1-1,0 0 1,0 1 0,0-1 0,-1 0 0,1 0 0,-2 2-1,-6 8-5,5-6 37,0 0-1,1-1 1,-1 1-1,-1-1 1,1 0 0,-1 0-1,0 0 1,0 0-1,-8 4 1,-19 16 130,30-22-183,1 0 34,-1 0 0,0 0-1,1 0 1,-1 0 0,0 0 0,0 0 0,0-1-1,0 1 1,0-1 0,-1 1 0,1-1-1,0 0 1,-1 0 0,1 0 0,-1 0 0,1 0-1,-4 0 1,1-2-12,-1 1 0,1 1 0,0-1-1,0 1 1,0-1 0,-9 4 0,-15 2 50,-1 1 14,27-5-67,0-1 0,0 0 0,0 0 1,0-1-1,0 1 0,-1-1 0,1 1 0,-5-1 0,-58-11-368,53 8 314,0 1 0,0 0 1,0 0-1,0 1 0,-24 2 0,24 0 3,-1-1 0,1 0 1,-13-3-1,-16 0-3,-22 2 17,28-1 20,-48 5-1,21-3 257,49 0-202,0-1 0,0 0 0,0-1 0,0-1 0,-25-7 1,17 4-3,-49-11 4,-1 4-1,-90-5 0,119 14-176,0-1 0,0-3 0,-43-12 0,0-10 204,47 15-89,-66-15 1,17 14-91,-128-31 38,0-2 400,115 16-245,-285-29-485,367 60 401,-199-4 2,149 6 73,2 12 123,40-8-208,-52 14-1,33-6-80,-4-1-150,28-7 255,0 1 0,0 1 1,0 1-1,-36 17 0,18-6 143,0-1-1,-58 16 0,7-3 53,56-20-86,25-8-133,1 1 0,-1 0 1,1 1-1,0 0 1,0 0-1,-8 6 1,-3 4 14,16-10 6,0-1 0,0 0-1,-1-1 1,1 1-1,-1-1 1,-8 4 0,-19 8-25,22-9 53,-1 0 0,1-1 1,-1-1-1,0 1 0,-12 1 1,-20 3-89,1 2 0,0 2 0,-57 24 0,61-24-159,28-10 192,0 1-1,0 1 0,0-1 1,-8 6-1,4-3 56,0 0 0,1-1 0,-1-1-1,-26 5 1,3 0 47,2-4 85,29-4-132,-1-1 1,1 1 0,-1 1-1,1-1 1,0 1-1,-12 5 1,9-2-35,0 0 0,0-1-1,-1 0 1,1 0 0,-1-1 0,0-1 0,0 0-1,0 0 1,0-1 0,-17 1 0,-50 0 135,-78 14 1,20 10-160,118-23 26,-40 5 31,11-1-63,40-5-1,0-1 0,-1 0-1,1 0 1,0 0-1,-1-1 1,-8 0 0,-44-3-46,-17-4 22,27 1 52,-66-2-1,26 4 76,34 0 125,-130-14 333,41 0-577,106 13 31,3 1-4,0-2-1,0-1 1,-38-14-1,57 16-3,-1 1 0,-25-4 0,-22-4-113,31 3 162,0 3 1,-1 0-1,-51-1 0,69 5-21,0 0 0,1 0-1,-17-6 1,18 4 6,-1 0 1,1 2-1,-28-2 0,19 1 26,0 0 0,1-1 0,-1-1 0,-39-15 0,14 7-214,-61-10 0,-16-4 112,-73-16-80,-62-13 188,64 36 160,42 6-220,41 6-368,23 3-61,-90 1 710,134 4-332,-110 2 152,-166-5-81,217 2 304,-149 15 1,33 1-715,25-11 299,151-1 50,0 2 1,1 2 0,-67 19-1,-56 9-205,106-26 228,-85 23-1,-16 3 234,-34 10 168,160-34-448,0-3-1,-60 7 1,68-10 34,0 1 1,1 1-1,-28 10 1,-47 12 54,19-8 104,43-10 22,-73 9-1,69-17-86,-52-6 0,56 1 38,-69 5 0,50 1-28,-114-9 0,149 2-33,-1-1-1,1-1 0,-32-11 0,-27-6 262,49 16-294,-47-12-19,-53-21 10,116 35 18,1-2 0,0 0 0,-28-16 0,-4-1 34,-13-5-134,-82-51 0,47 29-79,54 30-149,29 16 193,12 4 122,0 0 0,0-1-1,-1 1 1,1-1 0,0 1-1,0-1 1,0 0 0,0 0 0,0 0-1,0 0 1,0 0 0,0-1-1,0 1 1,0 0 0,-1-3-1,-3 0 13,-27-9 0,7 0 28,20 9-26,-1 0 0,1 1 0,-1 0 0,0 0 1,1 0-1,-15-2 0,13 3-36,3 1 12,1 0 0,0 0 0,1 0 1,-1 0-1,0-1 0,0 0 0,1 0 1,-1 0-1,-4-3 0,-45-26 91,52 29-38,-24-19-152,-5-23 615,26 29-366,0-11-356,-2-38-156,6 54 370,0 1-1,1-1 0,0 0 1,5-13-1,-6 21 23,4-15-21,13-10 6,-15 25-118,8-15 97,5-9 569,3 18-782,11-13-71,-11 8 112,1 1 0,0 0 1,28-11-1,-44 21 13,11-7 1078,3 0-809,-9 5-99,-1 0 0,1 0 1,0 0-1,0 1 0,0 0 0,16-3 0,-18 5 32,0 0 1,0-1-1,0 1 1,-1-1-1,1-1 0,0 1 1,-1-1-1,0 0 0,1 0 1,8-8-1,13-5-36,19-10 2,-30 16 11,1 0 0,29-10 0,94-40-333,-6 2 69,63-7 355,-84 19-118,69-25 132,85-1-871,-155 54 901,-65 12-90,48-13 0,-7-3 10,90-28-157,-152 43 76,1 2 1,-1 1-1,1 1 0,0 1 0,46 3 0,-35-1 55,-25-1-18,-1 0 0,1-1-1,23-7 1,3 0 3,3 0 31,68-25 0,-76 21 43,1 3 0,69-13-1,-54 15-111,59-17-1,45-9-3803,-74 21-605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424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17 1760 9056,'11'-12'5946,"6"0"-5672,-1-1-1,0-1 0,16-17 0,-13 10-509,31-22-1,-27 25 194,0 2 0,2 0 0,0 2 0,0 1-1,1 0 1,1 2 0,52-14 0,-52 20-358,0 1-1,1 1 1,39 1 0,-66 5 305,-2 2 159,0-1 1,-1 1-1,1-1 0,-1 0 1,0 0-1,0 0 1,-1 0-1,1 0 1,-6 5-1,-7 3 133,0-1 1,-1-1-1,-31 15 0,-21 13-93,-57 32-171,23-15 98,66-25-132,33-27-28,16 9-1126,-5-10 1298,-1 0 1,1 0 0,0-1 0,-1 0 0,1 0 0,0-1 0,0 0 0,0 0 0,14-3 0,10-4-45,34-11-1,-15 4-123,103-38 172,-99 31-534,59-14 1,-80 24-384,0 0-1,39-20 1,36-13 206,-98 39 1613,-23 3-290,-7 0-558,-4-3 85,0 1 0,0 0 0,0 2 1,0 0-1,-1 2 0,1 0 0,0 2 0,0 1 1,-1 0-1,2 2 0,-29 9 0,-42 3-186,65-13-339,-52 14 1,28-2 411,29-11 24,1 2 1,0 0 0,1 1 0,-1 1-1,2 1 1,-1 1 0,-24 18 0,15 3 607,54-30-656,-18-3-55,0 0 0,-1 0 1,1 0-1,0-1 0,-1 1 1,1-1-1,-1-1 0,0 1 1,6-4-1,49-34-73,-37 24 32,-1-2-856,-21 17 964,0 1 0,0-1 1,0 1-1,0-1 0,0 0 1,-1 1-1,1-1 0,0 0 1,-1 1-1,1-1 0,0 0 1,-1 0-1,1 0 1,-1 1-1,1-1 0,-1 0 1,1 0-1,-1 0 0,0 0 1,1 0-1,-1 0 0,0 0 1,0-2-1,-8 0-20,0 0 0,0 0 1,-1 1-1,1 0 0,-1 1 0,0-1 0,1 2 1,-1-1-1,0 1 0,0 0 0,-9 2 0,-13 0 466,24-1-463,1 0-1,0 0 1,-1 0 0,1 1 0,0 0 0,0 0-1,0 1 1,0-1 0,1 1 0,-8 5 0,-28 13-47,-11 2-421,-68 41 0,120-64 393,-1 0-1,1 0 1,0 0-1,-1 0 1,1 0-1,0 0 1,-1 0-1,1 1 1,0-1-1,-1 0 1,1 0-1,0 0 1,-1 1-1,1-1 0,0 0 1,-1 0-1,1 1 1,0-1-1,0 0 1,0 0-1,-1 1 1,1-1-1,0 0 1,0 1-1,0-1 1,-1 0-1,1 1 1,0-1-1,0 0 1,0 1-1,0-1 1,0 1-1,0-1 1,0 0-1,0 1 1,0-1-1,0 0 1,0 1-1,16 4-63,23-6 527,-27-2-500,0-1 1,-1 0-1,0 0 1,1-2-1,-2 1 0,1-1 1,-1-1-1,20-17 703,-33 24-387,-15 0-482,1 0-1,0 2 1,-31 5 0,43-6 164,-1 1 0,1 0 0,0 0 0,-1 0 0,1 1 0,0-1 0,0 1 0,1 1 0,-1-1 0,1 1 1,-1-1-1,1 1 0,0 1 0,1-1 0,-6 7 0,7-5 146,0 0 1,0 0-1,1 0 1,0 0-1,0 0 1,0 0-1,1 11 1,0-13-124,0 0 0,0 0 0,1 0-1,-1 0 1,1 0 0,0 0 0,0-1 0,0 1 0,0 0 0,1 0 0,2 4 0,-3-6-9,1-1 0,-1 0 0,0 1 0,0-1 0,1 0 0,-1 0 0,1 0 1,-1 0-1,1 0 0,-1 0 0,1-1 0,-1 1 0,1 0 0,0-1 0,-1 1 0,1-1 1,0 0-1,0 1 0,-1-1 0,1 0 0,0 0 0,0 0 0,-1 0 0,1-1 0,0 1 1,2-1-1,14-4-157,-1-1 0,0 0 0,0-1 0,-1-1 0,24-15 0,-26 14-80,1 1 0,0 0 0,1 1 0,0 0 0,0 1 0,22-4 0,-8 13-1760,-21-1 2703,0 2 0,15 6-1,4 3-2833,-20-9 2608,-1 0 0,1 0 1,-1 1-1,0 0 0,-1 0 1,7 7-1,22 16-607,-14-14 452,1-1 1,1 0 0,-1-2-1,2-1 1,24 8 0,-6-6 488,-28-8-583,0 0 1,0-1-1,0-1 0,1 0 0,-1-1 1,17 0-1,15-4 82,0-3-1,-1-2 1,1-1-1,-2-3 1,68-26-1,-107 36-231,0 1 1,1-1-1,-1 1 0,0 0 0,17-1 2729,-33-12-2439,2 8-286,-1 0-1,1 0 1,-2 1 0,1 0-1,0 1 1,-1 1-1,0-1 1,1 2 0,-1-1-1,0 1 1,-1 1-1,1 0 1,0 1 0,-18 1-1,-13 4-172,0 2 1,-66 20-1,-8 0-247,29-9 184,34-7 190,0-1 0,-90 3 0,145-14-10,0 1 1,-1-1-1,1 0 1,-1 0-1,1 1 1,-1-1 0,1 0-1,-1 0 1,0-1-1,0 1 1,2-2 0,4-3-92,33-17-161,2 2 0,1 2 0,0 1 1,49-12-1,-44 15 493,-22 6-273,38-7-1,-64 15 90,0 1-15,0 0 1,1 0-1,-1 0 1,0 0-1,0 0 1,0 0 0,0 0-1,0 0 1,1 0-1,-1 0 1,0 0-1,0 0 1,0 0-1,0 0 1,0 0-1,1 0 1,-1 0-1,0 0 1,0 0-1,0 0 1,0 0-1,0 0 1,1 0-1,-1 0 1,1 1 130,-1-1-131,0 0 1,0 0-1,0 1 1,0-1-1,0 0 1,0 0-1,0 0 1,1 0 0,-1 0-1,0 1 1,0-1-1,0 0 1,0 0-1,0 0 1,0 0-1,0 0 1,0 1-1,0-1 1,0 0-1,0 0 1,0 0-1,-1 0 1,1 1-1,0-1 1,0 0-1,0 0 1,0 0-1,0 0 1,0 0 14,0 1-15,-1-1 1,-12 16 138,-25 16-250,14-15 109,-34 32-1,-9 7-471,29-16 189,69-54 242,54-31 356,-27 13-248,-22 6-243,-34 24 129,1-1 0,-1 1 1,1 0-1,0-1 0,-1 1 0,1 0 0,0 1 0,0-1 0,0 1 0,0-1 1,1 1-1,-1 0 0,0 0 0,1 0 0,-1 0 0,0 1 0,1 0 0,5-1 1,-9 32 110,3-14-138,0 0 0,8 24 0,-6-26-13,-2-1 64,2 0 0,0-1 0,0 1 0,9 14 0,-11-24 26,1 1 0,-1-1 0,1 0 0,0 0 0,0 0 0,0 0 0,0-1 0,1 1 0,-1-1 0,1 0 0,0-1 0,0 1 0,0-1 0,8 3 0,5 0 95,0 0 0,0-2 0,1 0 1,-1-1-1,23 0 0,92-9 530,-118 5-686,34-1 37,-25 2 82,0-1 1,0-1 0,0-2 0,36-10 0,22-9 345,135-23 1,-110 26-499,-25 6 211,0 4 0,138-2 1,-186 11-149,0-1 0,48-12 0,1 1 101,-8 5 1307,-79 10-1400,-19 4-70,-428 80-255,410-78 335,-316 40 10,329-44 98,0-2 1,1-2-1,-1 0 0,0-2 1,1 0-1,-1-2 0,1-1 1,-48-18-1,39 11-302,0 3 0,0 1 0,-41-5 0,4 5 154,48 7 244,0-1-1,0-1 1,-41-13-1,-16-10-938,-164-31 1,234 56 680,1 0 0,-1 1 0,0 0 0,0 1 0,0 1 0,1 0 0,-14 2 0,-22 17-410,38-16 401,1 0 0,-1 0 0,1 1 0,0 0 0,1 1 0,-1 0 0,-10 11 0,15-14-4,1 0 1,-1 1 0,1-1-1,0 0 1,0 1-1,0 0 1,0-1 0,1 1-1,-1 0 1,1 0-1,0 0 1,0 0-1,1 0 1,-1 0 0,1 0-1,0 0 1,0 0-1,0 0 1,0 0 0,2 5-1,-1-5 85,1 0 0,-1 0-1,1-1 1,0 1 0,0 0-1,1-1 1,-1 1 0,1-1-1,0 0 1,-1 0 0,1 0 0,1 0-1,-1 0 1,0-1 0,1 1-1,-1-1 1,1 0 0,0 0-1,0 0 1,4 1 0,13 4 327,0 0 1,36 6-1,-28-6-381,14 0 247,0-2 0,1-1 1,-1-2-1,69-7 1,54 2-190,-2 2 42,-99-1-48,10-1 107,67 1-19,99-12-377,-99 2 107,8-6 260,-98 10 21,80-2 0,222-5-40,-2 1 59,-189 7-143,-73-1-17,18 0-337,-7 6 79,86 4 457,-153-1-138,-1 0 0,1-2 0,-1-2 0,54-11-1,-42 7 88,49-3-1,-79 11-32,-11-1-87,-1 0-1,1 1 1,0-1 0,-1-1 0,1 1 0,0 0 0,-1-1 0,1 0 0,-1 0 0,5-1-1,36-9 1,1 2 0,0 2-1,1 3 1,66 1 0,55-6 73,-99 7-69,-51 2-86,0 0 1,0-1-1,-1-1 1,20-4-1,-27 4 43,0 1 0,0 0 0,0 1 0,0 0 0,-1 0 0,1 1 0,17 4 0,27 1 2,340-3 504,-89 13-483,-111-3 145,-169-11-193,7 3-43,-1 1-1,0 1 1,45 18 0,-46-17 111,0-1-1,30 3 1,-4 0 261,38 2-232,-63-9-43,0 1 0,31 8 1,120 24 280,-85-20-205,126 20 523,-177-30-570,-10-2 39,44 2 0,23-13-53,-36 13 177,-2-12-163,157-9 278,-11 7-63,-145 1-171,243-35 149,-30-5-273,-126 29-340,-78 12 384,173-36 71,-169 27 30,-55 10-75,-1 0 1,-1-1 0,1-1 0,-1-1-1,0-1 1,23-13 0,-37 18-15,0 1 0,0 0 0,0 0 0,0 1 0,14-3 0,13-5 15,57-23 240,102-24 0,-145 49-487,0 1-1,71 1 1,-16 0-270,144-17 368,-232 22 131,0 1-1,0 1 0,16 3 1,28 1-10,-46-5 14,40-1 4,78 11 0,-71-7 15,-49-3-21,0 0 0,0 1 0,0 0 0,0 0 1,0 1-1,-1 1 0,1 0 0,10 4 0,1 1-3,0-2 1,0 0 0,0-2-1,1 0 1,-1-1-1,26-1 1,17 6-60,1 2 0,-2 4 0,68 23 0,-5-3 244,-97-25-149,40 18 0,13 4-122,-57-25 169,35 4 1,6 1 184,-25-3-149,45 2 1,10 1-142,12 0 35,-78-8 119,-1-2 0,1 0-1,59-9 1,28 0-59,-85 8 112,0-1 0,0-2-1,0-1 1,0-2 0,54-16 0,-68 14-123,0-1 0,-1-1 0,0 0 0,0-2 0,-1 0 0,-1 0 0,0-2 0,14-15 0,-20 21-30,0 0 0,0 0 0,1 1 0,12-6 1,-15 9 3,-1 0 1,1 0 0,-1-1 0,0 1 0,0-2-1,-1 1 1,0-1 0,0 0 0,0 0 0,0-1 0,8-12-1,-3-10 38,0 0-1,-2 0 1,-1-1-1,-2 0 0,-1 0 1,2-32-1,-7 56-53,11-54-539,-6 41 309,-2-1 0,0-1 0,-1-21 0,-1 28 225,1 0 0,0 0 0,7-22 0,-5 25-2,-1 0 1,-1 0 0,0 0-1,0-1 1,-1 1-1,0 0 1,-1-1-1,-2-13 1,-5-16 44,-9-35-18,15 72-23,-14-44 304,-10-51 0,22 83-346,-1-1 1,-1 1-1,-1 0 0,0 0 1,-1 1-1,-1 0 0,0 0 0,-1 0 1,-1 1-1,-13-14 0,-75-57-714,80 68 834,-1 2-1,0 0 0,-31-16 0,-10-8 225,39 25-497,0 2-1,-1 1 1,0 1 0,-42-14 0,-15-6 87,-42-17 44,49 21-108,31 12 127,-2 2-1,0 2 0,-45-4 1,1-1 68,-117-22 31,62 22 110,13 1-162,-170-25-388,66 21 98,182 15 136,1 2 0,-1 3 0,1 2 1,0 2-1,-79 20 0,-15 0 197,70-12 17,1-2-1,-125 1 0,-273 28-194,262-28 117,78-8-388,-8-1 146,-55 6 337,-102 24 487,271-33-479,0-1 0,0-1-1,-36-6 1,-2 0-66,-27-1 312,-102-3-690,51 2 487,66 3-14,42 2-102,1-1-1,-43-13 0,-6-1-151,7 4 43,-79-10 92,124 21 5,-38-10 0,2 1 53,-22-2 294,-140-44-1,168 41-694,0 2 0,-96-13 0,-124 6-284,194 18 730,-98 7-1,174-1-108,-89 6-1,-148 30 1,164-24-214,56-10 89,-40 10 0,-56 26-182,-41 10-105,123-37 523,0 2-1,1 2 1,-72 39-1,99-49-59,-75 34-23,53-26-12,-49 29 0,-106 61 158,36-22-410,61-26-395,40-23 740,-2-2-1,-68 29 1,102-51-95,1 1-1,0 1 1,-34 26-1,32-21 41,-1-2 0,-31 17 0,32-22 39,-1-1 0,0-2 0,-35 7 0,-35 10-32,29-3 20,0-4 0,-108 16 0,123-22-59,37-7-19,1 0-1,-1-1 1,0 0-1,-22 0 0,-229-3 5,31 18 46,35 0-100,75-6-90,-27 2-86,74-9 285,-1 3 0,-94 22-1,-6 1-216,12 5-231,66-10 430,58-18 14,1 3 0,0 1 1,1 1-1,-66 33 0,-11 8-47,5-2-2,86-39-14,-5 4-8,0-1 0,-44 16 0,64-29-39,0 2-1,0-1 1,0 1 0,0 0 0,1 1 0,0 0 0,0 0 0,0 0 0,0 1-1,1 0 1,0 1 0,0-1 0,1 1 0,0 0 0,0 1 0,0-1 0,1 1-1,0 0 1,-3 8 0,6-5-29,0 0 0,0 0 0,1 0 0,0-1 0,3 22 0,-1-18 51,-2-12 34,1 0 0,0 0 0,0 1 0,0-1 0,0 0-1,0 0 1,0 0 0,1 0 0,-1 0 0,1 0 0,2 2-1,3 5 132,-2-3-99,0 0 0,0-1 0,1 1 0,-1-1 0,1-1-1,0 1 1,1-1 0,-1 0 0,1 0 0,0-1-1,0 0 1,0 0 0,0-1 0,0 1 0,1-2 0,-1 1-1,1-1 1,-1 0 0,15 0 0,11-2 58,1-1 1,-1-1-1,39-10 1,-46 8-177,34-7 128,-29 5 126,52-5-1,-51 8-119,58-13 1,18-4-374,-35 9 433,0-3 0,131-46 0,-86 23 689,-83 30-1299,52-6 0,-78 12 475,80 2 40,-60-3-24,0 2 1,0 0-1,52 7 1,-49-3 66,1-1 0,57-4 1,-26-7-69,-21 3-51,62-2-1,-62 6 5,49-8-1,-57 4-7,-1 3 0,60 0 0,-47 4-72,61-7 0,-61 2 127,68 3-1,-54 6 298,115-7 0,-74 1-213,-54 2-118,4 2-227,-32-2 155,-1 0 0,28-3-1,-22 0 132,1 1 0,-1 1-1,0 1 1,0 1-1,46 11 1,48 6-8,159 6 1,-228-19 13,0 2-1,75 22 1,-105-24-28,7-1 3,1-1 0,-1-1 1,31-1-1,14 2 19,100 25 200,-5-1-176,-141-26-39,1 0 0,-1-2 0,1-1 0,35-6 0,1-3-57,0 3 0,1 3-1,68 4 1,111-3-148,-36-17 181,-203 20 18,29-2-13,0 1-1,-1 2 1,1 1 0,35 7-1,-47-6-12,0 0 1,0-1-1,0-1 0,30-2 0,87-16-91,-54 5 49,115-25-348,-166 29 250,-13 5 151,41-2 0,-13 1 18,139-24-58,37 0-1101,317-1 0,-423 30 785,180 8 149,-211 0 361,180 23 578,-197-25-906,117-2 1,-128-6-23,-27 3 205,0 2 0,48 10 0,-14-1 27,19 3 90,43 6-90,-80-19-46,-34-4 24,-1 2 0,1 0 0,0 1 0,-1 0 0,0 1 0,18 5 0,-8 0 16,1-1-1,1-1 0,-1-1 1,31 2-1,-19-2-6,-8-3 170,0-1 0,0-1 0,32-5 0,41 0 137,10 12-308,-59-3 190,99-4-1,-81-3-171,0 3 0,72 10 0,84 1 38,10-14 750,-75 5-563,63-3 230,-54 3-711,-112-3 203,112-8 78,-152 5-54,-1 0-1,1-1 1,28-12 0,24-7 86,-66 23-48,7-1 120,0-1 1,0-1 0,0 1 0,14-9 0,-21 10-115,0-1 0,0 0 0,-1 0 0,1 0 0,-1 0 1,0-1-1,0 1 0,0-1 0,0 0 0,-1 0 0,1 0 0,-1 0 0,3-7 0,1-8-54,-1-1-1,-1 0 1,0 0 0,-2 0-1,0 0 1,-1 0-1,-2-21 1,0 9-370,7-50 0,3 37-315,-4 24 613,-1-1-1,1-23 1,-5 39 41,0 1 0,0-1 1,-1 0-1,1 0 0,-1 0 0,0 0 0,-1 1 1,0-1-1,0 1 0,0-1 0,0 1 0,-5-8 0,0 5-21,0 1 0,-1-1-1,1 1 1,-2 0 0,-14-9-1,-7-6 70,-174-133-305,155 119 370,-36-24-6,-3 4 0,-130-62 0,194 108-128,0 1 0,0 1 0,0 1 1,-42-5-1,-107-4 271,81 9-64,-295-12-212,156 11 235,-119 1-1024,21 32 1082,262-18-122,-169 26-37,31-3 128,125-20 60,-130 10-73,170-18 102,1-2 0,-1-2 0,-50-9 0,80 8-230,1 1-1,0-1 1,0-1-1,0 0 1,-10-6-1,-27-12-68,-72-27-117,56 22-243,-121-36 0,118 50 188,-1 2-1,-98-3 1,-134 14-140,260 1 208,-174-9 1,67 1 107,-38-4-64,101 4 119,-82 4 1,-20-3-76,39 0-79,-91 16-94,65-1 214,70-12-214,63 1-106,-41 2 0,31 5 299,0 2-1,1 2 1,0 2-1,0 3 1,-56 23 0,-137 46 493,201-73-263,-78 9 1,84-15-85,0 1 1,0 2 0,-52 17 0,-181 87-26,222-92-51,18-7 4,-1-1 0,1-1 0,-49 10 0,-67 17 54,58-13-81,50-13-1,-62 29 0,17-6-355,52-23 181,0 1-1,1 2 0,-39 27 1,49-31 235,0-1 0,-1 0 0,0-1 0,0-1 0,0 0 0,-34 7 0,-116 11 331,34-7 12,36-5-562,67-10 2,1 1 0,-39 11 0,-68 24 87,-168 25 0,43-18 579,-40 17-988,2-1 504,249-54-37,6-1 99,-75 4 1,63-15 54,40 3-140,0 0 1,-28 1-1,11 3-168,19-3 17,-1 2 0,1-1 0,0 2 0,0 0 0,0 0 0,0 1 0,-23 11 1,6-1-185,-44 15 0,52-22 343,1 1 1,0 1 0,0 1-1,-34 22 1,52-29-43,1 0 0,-1-1 1,-1 1-1,1-1 1,0 0-1,-1 0 0,1-1 1,-1 1-1,1-1 1,-1 0-1,0-1 1,1 1-1,-1-1 0,0 1 1,-7-2-1,31 31-277,-13-23 121,1 0 1,1-1-1,-1 1 1,15 8-1,16 11 472,-26-18-368,1 0 0,1-1 0,-1 0 1,1-1-1,19 5 0,75 15 431,-82-20-134,50 6-235,-47-8 71,47 11 0,-36-4-199,1-2-1,-1-2 1,1-1-1,52-1 1,-19-5 522,111-17-1,-90 6-215,-41 6-498,91-20-1,-91 10 215,0 1 0,2 4-1,-1 2 1,58-2 0,-70 10 156,39 2 58,1-5 1,121-19 0,-161 15-40,0 1 1,67 1 0,99 4-29,-170 1-136,65-10 0,-73 6 0,1 0 1,-1 3-1,50 2 1,84 18 85,-135-21 61,-27 2-2,0-1 1,0 1-1,0 0 0,1 0 0,-1 0 0,0 0 0,0 1 1,0-1-1,3 2 0,18-1 1886,-49-6-1728,-70-9-1269,93 13 959,29 10-59,-4-6 128,0 0-1,45-2 1,-8 0 12,193 27 122,-228-25-63,0-1 0,0-1 0,43-4 0,-41 1-6,0 1 0,46 4 0,-41 2-92,1 1 28,0-2-1,1-1 1,-1-1 0,1-2 0,43-6-1,63-7 1167,-139 12-1116,0 1 0,0 0 0,0 0 1,1 0-1,-1-1 0,0 1 0,0 0 0,0 1 0,0-1 0,0 0 0,0 0 0,0 0 0,0 1 1,0-1-1,1 0 0,-1 1 0,0-1 0,-1 1 0,1 0 0,0-1 0,0 1 0,0 0 0,0-1 0,1 2 1,5 3 521,-21-8-673,0 0 0,-1 0 0,1 1 0,-1 1 0,1 1 0,-28 2 0,6-1 168,-76 1-579,46 1 23,-91-9 0,-10-13 247,-260 4 0,-119 54-527,349-23 22,-83 12 428,164-15 256,-23 5 73,5 21 229,130-38-303,1 1 0,-1 0 0,1 1 0,0-1 0,0 0 0,0 1 0,0 0 0,1 0 0,-1-1 0,1 2 0,0-1 0,-1 0 1,-2 7-1,15 1-1157,-6-9 1209,1 1 0,-1-1 0,0 0 0,1 0 1,-1-1-1,9 3 0,12-2 82,-1 0 0,0-2 1,0 0-1,1-2 0,-1 0 0,27-7 1,-6 2 50,68-13 43,43-5-302,175-9 256,-79 15 245,-196 12-15,107-31 0,-106 23-6,90-13 0,-45 12-181,-58 9 142,44-4 0,-58 9-71,-1-2 0,47-13 0,-60 13-270,-2 1-65,-1 1 1,1 1 0,19 0-1,32-4-326,4-6 895,105-3-1,74 13-300,86 13-146,-284-9-6,-19-3 21,51 9 1,-46-4 102,1-2 0,-1-1 0,1-3 0,39-4 0,-25 1 144,68 4 0,-59 4-176,0 3 1,0 2-1,80 23 1,-112-24 7,0-2 0,0 0 1,54 3-1,89-8-55,-3 0-464,-90 5 19,102 2 1116,-133-8-686,76 11 0,27 2 56,-95-11-34,82 15 0,-94-9 98,0-3-1,0-1 1,83-4-1,-74-3 182,78 6-1,-75-1-329,67-4 0,98-27 182,0 0-17,-23 1-156,-185 28 0,1 0 0,0 0 0,14 3 0,-18-1 0,1-1 0,0 0 0,0-1 0,0 0 0,0-1 0,13-2 0,-3 0 290,2-2-1826,-34-6 641,-2 7 827,-1 1 0,1 1 0,-1 0 0,0 0-1,1 1 1,-1 1 0,-27 4 0,11-3 153,-82 9-24,-208 45 0,144-25 437,-209 8 1,383-38-499,-457 29 313,232-24-685,41-4 175,135 2 166,5 0 20,0-1 0,0-3 0,-65-9 0,-123-23-1006,51-12 865,134 33 132,16 2 17,3 1-40,-1 2 0,-43-5 0,59 10-72,1-1 0,-22-6 1,25 6-83,0 0 0,0 1 0,-1 0 0,-13 0 0,25 2 153,0 0 0,1 0 0,-1 0 0,0 0 0,1 1 1,-1-1-1,1 0 0,-1 1 0,0-1 0,1 1 0,-1-1 0,1 0 1,-1 1-1,1-1 0,-1 1 0,1-1 0,0 1 0,-1 0 1,1-1-1,-1 1 0,1-1 0,0 1 0,0 0 0,-1-1 0,1 1 1,0 0-1,0-1 0,0 1 0,0 0 0,0-1 0,0 1 1,0 0-1,0-1 0,0 1 0,0 0 0,0 0 0,0-1 1,0 1-1,0 0 0,1-1 0,-1 1 0,1 1 0,0 0 41,-1 0 0,1 0-1,0 0 1,0 0 0,0 0-1,1 0 1,-1 0 0,0 0-1,1 0 1,-1 0 0,1-1-1,0 1 1,0 0 0,-1-1-1,1 0 1,4 3 0,5 3 1,7 7 116,0 0 1,0-1-1,2-1 1,0-1-1,0-1 0,35 12 1,109 54 172,-97-43 91,-44-24-247,-1-2 0,1 0 0,0-2-1,0 0 1,44 2 0,-30-3-154,-14-2-150,0 0 0,0-2 1,40-3-1,-28 0 250,142-11 947,103-3-38,-117 15-917,109 1-306,-182 6 202,277-1 351,-305-8-377,-1-3 1,62-16 0,-48 9 1119,-89 14-2032,-19 6 569,-1 1 1,1 2-1,-53 22 0,14-5 295,-8 1 66,-182 58 794,9-29-141,212-52-1261,0-2 1,0-2-1,-76-10 1,78 7 589,8-2-795,0-1 0,0-1 0,-33-12 0,144 22-1895,86 16 3710,-74-8-548,-5 0 449,182 14 1288,-207-23-1446,-4 1 336,0-3 0,93-12 0,-29-13-754,126-44 0,-69 17-36,-159 47-260,11-3 84,38-15 0,-21 8 147,-40 13-179,0 0 1,0 0 0,0-1 0,0 0 0,0-1-1,-1 1 1,10-8 0,11-5-57,0 0 0,1 2 0,1 1 1,46-13-1,-9 2-478,-13 2 244,2 3 0,0 2 0,87-14 0,26 4 261,95-10-349,-227 34 246,-21 1 97,0 1-1,1 0 0,-1 1 1,1 1-1,27 4 1,-17 1 77,1-2 1,-1-1 0,1-2-1,30-1 1,-31-1-89,0 1 0,0 1 0,-1 2 0,43 9 1,13 3 5,-37-8 0,109 15 652,11 23-361,-122-30-25,1-3 0,1-1 0,0-2 0,83 4 0,18-3 204,0 0-148,20 2 418,-44-1-587,7-1-130,-68-3 250,103-4 0,-133-3-219,39 3 0,-47 0-2,1-2 0,-1-1 0,33-3 0,-10 3 44,-39 1-75,-1 0 0,1-1 0,0 0-1,0 0 1,-1-1 0,11-1 0,0-1-161,0 0 1,1 2-1,18-1 0,4 1 1007,-31 0-782,-8 1-83,-1 0 0,1 0 0,0 0-1,0 0 1,-1 0 0,1 0 0,0 0 0,-1 0 0,1-1 0,0 1-1,-1 0 1,1-1 0,0 1 0,-1 0 0,1-1 0,-1 1-1,1-1 1,0 1 0,-1-1 0,1 1 0,-1-1 0,0 1-1,1-1 1,0 0 0,26-26-7,-11 14-76,-2-1 0,1-1 0,-2 0 0,0-1-1,-1-1 1,-1 0 0,0 0 0,-1-1-1,-1 0 1,7-21 0,-9 17-242,-5 16 274,0 0 0,0-1 1,0 1-1,-1 0 0,0-1 0,0 1 0,-1-1 0,0-6 0,1-36 0,1 38-15,-2 0 0,0 0 0,0 0 0,-1 1 0,-2-13 0,3 23 62,-2-8-9,0 1 0,1-1 0,0 0 0,0 0 0,1 0 0,0 0 0,0 0 0,1 0 0,-1 0 0,2 0 0,2-9-1,-3 15 52,-1 32-1699,-3 1 1617,0 0 0,-2 0 1,-2 0-1,-14 43 1,-1 6 1,18-67-17,-1 0 1,0-1 0,-1 1 0,-13 21 0,-13 28-131,25-45 360,-2 0 0,-10 16 1,-2 5 1035,19-36-1139,-1 1-1,1-1 1,0 0 0,0-1 0,-1 1 0,1 0 0,-1-1-1,1 1 1,-1-1 0,0 0 0,0 0 0,1 0-1,-1 0 1,0 0 0,0-1 0,0 1 0,-6-1-1,-1 2-8,-42 7-111,-58 2 0,58-11-455,37 0 323,1 0 1,0 0 0,0 2-1,-24 4 1,59-6-1067,1-2 1372,1-2 1,-1 0 0,0-1 0,0-1-1,0-1 1,-1 0 0,37-21-1,-51 24-88,-1 0-1,0 0 0,0-1 0,0 0 0,-1 0 0,0-1 0,0 0 0,0 0 0,-1 0 0,0 0 0,0 0 0,0-1 0,-1 0 0,0 0 0,0 0 0,2-10 0,3-13 12,-2 0 0,4-54 0,-6 43-30,15-111-451,-1 97 71,-14 47 360,-1 0-1,0-1 1,-1 1 0,1-1-1,-2 0 1,2-14 0,3-15 753,-5 35-731,0-1 0,0 1 0,-1-1 0,1 1 0,-1-1-1,0 1 1,1-1 0,-2 1 0,1-1 0,0 1 0,-1-1 0,1 0 0,-1 1 0,0 0 0,0-1 0,-1 1 0,-1-5-1,-27-58-52,30 64 38,-1 1-1,0 0 1,1-1 0,-1 1-1,0 0 1,0 0 0,0 0 0,0 0-1,0 0 1,-1 0 0,1 0-1,0 0 1,0 0 0,-3-1-1,-11-12 35,-6-19 34,16 27-54,1-1 1,-1-1-1,1 1 1,1-1-1,-5-9 1,6 14-50,0 0-1,-1 1 1,1-1 0,-1 1 0,0 0-1,0 0 1,0 0 0,0 0 0,0 0-1,0 1 1,-1-1 0,1 1 0,-6-1-1,-2-3-173,-21-9-903,-89-44 1024,117 55 35,-1 0 0,0 1 0,0 0-1,0 1 1,-10-3 0,12 3 56,-1 0 1,0 0-1,1 0 0,-1 0 1,1-1-1,-1 1 0,1-1 1,-6-4-1,6 3 162,0 1-372,0-1 0,0 1 0,0 0 0,0 0 0,-1 0 0,1 0 0,-6-2 0,8 4 158,1 0-1,-1 1 0,0-1 0,0 0 1,1 0-1,-1 1 0,0-1 1,1 1-1,-1-1 0,0 1 0,1-1 1,-1 1-1,1-1 0,-1 1 0,1 0 1,-1-1-1,1 1 0,0 0 0,-1-1 1,1 1-1,0 0 0,-1-1 0,1 1 1,0 0-1,0 0 0,-1-1 0,1 1 1,0 0-1,0 0 0,0 0 0,0-1 1,0 2-1,0 1 36,-1 0-1,0 0 1,1-1 0,-1 1-1,1 0 1,0 0-1,0 0 1,9 29 3641,-18-69-2186,-3 5-793,-1 1 0,-1 1 0,-36-56 0,45 78-635,-3-2-168,-1-1-1,1 2 0,-2-1 0,1 1 0,-18-12 1,-12-12-163,36 29 104,-1 0-1,0 0 0,-1 0 0,1 1 0,-1 0 1,1 0-1,-1 0 0,0 0 0,-10-3 0,15 6 207,-1 0-1,1 1 0,0-1 1,0 0-1,0 0 0,0 0 0,-1 1 1,1-1-1,0 0 0,0 0 0,0 0 1,0 1-1,0-1 0,0 0 1,0 0-1,-1 1 0,1-1 0,0 0 1,0 0-1,0 1 0,0-1 0,0 0 1,0 1-1,0-1 0,0 0 1,1 0-1,-1 1 0,0-1 0,0 0 1,0 0-1,0 1 0,0-1 0,0 0 1,0 0-1,0 0 0,1 1 1,-1-1-1,0 0 0,0 0 0,0 0 1,1 1-1,-1-1 0,0 0 1,0 0-1,9 16-144,-9-15 160,15 18-117,0 0 1,27 24-1,4 5-301,-44-46 314,-12 37-726,13-29 817,1-1 0,0 0 0,0 0-1,1 0 1,0-1 0,8 11 0,43 46 338,-38-48-274,2-1 0,0 0 0,1-2 0,31 17 0,-21-13 147,34 27 0,-40-28-78,1 0 0,51 24 0,-33-19-348,-1 14 0,-41-33 181,0 0 0,0 0 1,0 1-1,0-1 0,-1 1 1,0-1-1,1 1 0,-1-1 1,-1 1-1,1 0 0,0 5 0,0-4 73,-1-1 0,1 0 0,0 1-1,0-1 1,1 0 0,-1 1-1,1-1 1,0 0 0,4 6-1,-3-7 50,0 0 0,-1 0 0,1 1 0,-1-1-1,0 1 1,0-1 0,3 8 0,-5-7-18,0-1 0,1 0 1,-1 0-1,-1 0 0,1 0 0,0 0 0,-1 0 1,-1 5-1,1 0-154,-4 23 75,4-22-13,-1 1-1,0-1 0,0 0 1,-1 1-1,-4 24 1242,7-33-1185,5-8 58,0-1 1,-1 1-1,0-1 1,-1 0-1,1 0 1,-2 0-1,1 0 1,-1 0-1,0-1 1,-1 1-1,0-1 1,0 1-1,-1-1 1,-1-10-1,-1-17 234,-13-70-1,12 97-335,-2 0 1,1 0 0,-1 0 0,0 1 0,-1 0-1,0 0 1,0 0 0,-13-11 0,15 15-4,3 2-42,-1 0 0,1 1 0,-1-1 0,0 1 0,1 0 0,-1-1 0,0 1 0,0 0 0,0 0 0,0 0 0,0 1 0,0-1 0,0 0 1,0 1-1,-1-1 0,-2 0 0,-6 28-2237,11-17 2006,1 1 0,1-1-1,0 0 1,6 19 0,-4-14 26,0 0 1,3 30 0,-6-41 274,-1 0 1,0 1 0,-1-1 0,1 0-1,-1 1 1,0-1 0,0 0-1,0 0 1,0 0 0,-1 0 0,0 0-1,1 0 1,-1 0 0,-6 7 0,-91 100 188,5-8 40,37-38-195,-19 41 3005,77-105-2956,0 1-36,1-1-1,-1 1 0,1-1 1,-1 1-1,1-1 0,0 0 1,-1 0-1,1 0 0,0 0 1,2 1-1,51 12-499,-49-12 670,4 0-193,0-1 0,0 1-1,0-2 1,1 1 0,-1-1-1,0-1 1,0 0 0,1 0 0,-1-1-1,0 0 1,0-1 0,-1 0-1,1-1 1,-1 0 0,1 0 0,-1-1-1,0 0 1,-1-1 0,1 0 0,-1 0-1,0-1 1,-1 0 0,11-13-1,12-10 18,-24 24-35,0 1-1,0-1 1,-1 0 0,0-1-1,6-8 1,15-32-83,-3 0 0,-1-2 1,-3-1-1,14-54 0,-29 83-131,-4 17 188,0 0-1,1 0 1,0 0 0,0 0-1,0 0 1,0 0 0,4-6 0,-4 9 6,-1 0 0,1-1 0,-1 1 0,1 0 0,-1-1 0,0 1 0,1 0-1,-1-1 1,0 1 0,0-1 0,0 1 0,0 0 0,0-1 0,0 1 0,-1-1 0,1 1 0,0 0 0,-1-1 0,1 1 0,-1 0 0,1 0 0,-1-1 0,1 1 0,-3-2 0,-17-19 27,17 20-10,3 0-47,0 0 1,-1 0-1,0 0 0,0 0 1,1 0-1,-1 0 0,0 1 1,0-1-1,-1 0 1,1 0-1,0 1 0,-1-1 1,1 1-1,-3-3 1,6 15-1062,9 2 966,-2 1 0,1 1 0,-2 0 1,0 0-1,-1 1 0,8 27 0,18 102 254,-12-46-103,-14-65-26,3 41-1,-2-10 18,-8-62 0,1-1 0,-1 0 0,0 0 0,0 1 0,0-1 0,0 0 0,0 0 0,-1 1 0,1-1 0,-1 0 0,1 0 0,-1 0 0,0 0 0,0 0 0,0 0 0,0 0 0,0 0 0,0 0 0,0 0 0,-1 0 0,1-1 0,-1 1 0,1 0 0,-1-1 0,-3 3 0,-3 0 60,0 1-1,0-2 1,-1 1-1,1-1 1,-12 2-1,-16 8 182,-21 13-249,27-11 107,1-1 0,-2-2 0,1-1-1,-56 12 1,10-8-453,47-9 107,1 0 0,-1-2 0,-30 0 0,23-2 411,27 0-139,0-2 0,1 1-1,-1-1 1,0-1 0,-16-2 0,22 2 188,29-24 29,-21 22-168,10-9 172,0 1 0,0-2 0,14-17 0,-24 26-251,-2-1-1,1-1 0,0 1 1,-1-1-1,0 1 1,-1-1-1,1 0 0,-1 0 1,0 0-1,0 0 1,-1-1-1,0 1 0,1-11 1,-5-212 297,0 199-354,-1 0 0,-2 0 1,-1 1-1,-1 0 0,-18-44 0,18 58-77,0 1-1,-1 0 1,0 0-1,-1 1 1,-1 0-1,0 1 1,-1 0-1,0 0 1,0 2-1,-2-1 1,1 2-1,-1 0 1,0 0-1,-18-6 1,-5-2-264,-1 3 0,-1 1 0,0 2-1,-60-10 1,85 19 162,1 0 0,-1 1-1,0 1 1,0 0 0,1 1 0,-1 0 0,-22 5-1,29-4 104,1 0-1,0 0 1,0 0 0,0 1-1,0 0 1,0 0-1,0 1 1,1-1 0,-1 1-1,1 1 1,0-1-1,0 1 1,1-1 0,-1 1-1,1 1 1,0-1-1,-4 8 1,5-5 136,0 1 0,0 0 0,1-1 1,0 1-1,1 0 0,-1 13 0,-1 3-4,3-21 33,0 0 0,0 1-1,0-1 1,0 0 0,1 0-1,-1 0 1,1 1 0,0-1-1,1 0 1,-1 0-1,1 0 1,0-1 0,-1 1-1,2 0 1,-1-1 0,0 1-1,1-1 1,0 1 0,5 4-1,-2-2-2,0-1-1,0-1 1,0 1-1,0-1 1,1 0-1,-1-1 1,1 1-1,0-1 1,15 4-1,-18-6 42,0 0 0,0 0 0,0-1-1,0 1 1,0-1 0,0 0 0,0 0-1,0 0 1,0 0 0,0-1 0,0 0-1,6-2 1,-7 2-11,-1 0-1,1-1 1,-1 1 0,0-1-1,0 0 1,0 0 0,0 0-1,0 0 1,0 0 0,-1-1-1,1 1 1,-1 0-1,1-1 1,-1 1 0,0-1-1,0 1 1,0-1 0,0 0-1,0-2 1,2-4-32,0 0 1,-1 0-1,0 0 1,-1 0-1,0 0 1,0 0-1,-1 0 1,0 0-1,-1 0 1,0 0 0,0 0-1,-1 0 1,0 0-1,-1 0 1,1 0-1,-2 1 1,-5-11-1,-50-84 498,55 98-560,0 1 1,-1-1-1,1 1 0,-1 0 0,0 0 1,-10-5-1,-7-7-17,-24-21-2,-99-70-300,128 96 315,-1 1 1,0 1 0,-1 1-1,0 0 1,0 1-1,-40-8 1,5 7-339,0 2 0,-1 3-1,-93 5 1,124 0 201,0 1-1,0 1 0,0 1 0,1 1 1,-1 1-1,2 1 0,-1 1 0,1 1 0,0 1 1,-39 27-1,44-23-107,1 2 0,0 0 0,1 1 0,1 1 0,1 0 0,-13 25 0,21-35 355,1 0-1,0 0 1,1 0 0,0 0-1,0 1 1,1-1-1,0 1 1,1 0-1,0 0 1,0-1-1,1 1 1,1 0 0,-1 0-1,2 0 1,-1-1-1,1 1 1,1 0-1,-1-1 1,2 0 0,-1 0-1,1 0 1,1 0-1,0 0 1,0-1-1,1 0 1,-1 0-1,2 0 1,10 9 0,-1-2 145,2-2 0,-1 0 1,2-1-1,0 0 1,0-2-1,1 0 0,0-1 1,1-1-1,-1-1 1,2-1-1,39 6 0,-21-7 84,1-2-1,-1-2 0,1-2 1,-1-1-1,64-12 0,-89 11-228,-1 0 0,1-1 1,-1-1-1,-1 0 0,1 0 0,-1-2 0,0 0 0,0 0 1,0-1-1,11-11 0,-17 13-93,0 0-1,-1-1 1,0 0-1,0 0 1,-1 0 0,1-1-1,-2 1 1,1-1-1,-1-1 1,0 1 0,-1 0-1,0-1 1,0 0-1,-1 0 1,0 0 0,-1 0-1,1-13 1,-1 12 8,-1 3-4,1 0 0,-1 0 1,-1 0-1,1 0 1,-1-1-1,-3-12 0,-9 8-327,6 7 286,-1-2 3,-114-94-703,104 88 651,-1 1 0,0 1 0,-1 1 0,-1 0 0,-24-7 0,18 8-48,-1 1 0,0 2 0,-1 0 0,1 2 0,-1 2 0,0 0 0,0 2 0,0 1 0,-53 8 0,65-5 96,-30 4-232,0 2 0,1 2 0,-89 36 0,122-42 196,1 1 0,-1 0 0,1 1 0,1 1 0,-1 0 0,2 1 0,-15 15 0,18-16 34,0-1 0,1 1 0,1 0 0,0 1-1,0 0 1,1-1 0,0 1 0,0 1 0,1-1-1,1 0 1,-3 14 0,4-14 122,0-1 1,1 1-1,0-1 1,1 0-1,-1 1 1,2-1-1,-1 0 1,1 1-1,1-1 1,0 0-1,0-1 1,1 1-1,6 12 1,-3-11 24,0 1 0,1-1 0,0 0 1,1-1-1,0 0 0,1 0 0,-1-1 0,2 0 0,10 6 1,1-1 84,0-2 0,1 0 1,0-2-1,1-1 0,0 0 1,0-2-1,1-1 0,-1 0 0,40 0 1,-17-4 106,0-2 0,71-12 0,-91 8-129,0-1 0,-1-1 0,0-1-1,0-1 1,43-23 0,-60 26-140,-1 1 0,0-2 0,-1 1 1,0-1-1,0 0 0,0 0 0,-1-1 0,7-9 0,0-3-170,-1-1-1,10-25 0,-21 44 129,0 0 0,0 0-1,-1 0 1,1 0 0,-1 0-1,0 0 1,0 0-1,1 0 1,-1 0 0,0 0-1,-1 0 1,1 0 0,0 0-1,-1 0 1,1 0-1,-2-3 1,-18-29 55,4 8-47,2 1-206,-2-1-1,0 2 1,-1 0-1,-40-42 0,45 57 129,0 0-1,0 1 0,-1 0 1,-1 1-1,1 0 0,-1 1 1,0 1-1,0 0 0,-19-3 1,-13-7-156,-23-10-84,-2 4 0,0 2 0,-117-14 0,172 31 191,-1 2 0,0 0 0,0 1 0,0 1 0,0 0 0,-31 9 0,38-7 21,-1 0-1,0 0 0,1 1 0,0 1 0,0 0 0,0 0 0,1 1 1,0 0-1,0 0 0,1 1 0,-8 9 0,12-13 144,1 0 0,0 0-1,0 0 1,0 1 0,1-1 0,0 1-1,0-1 1,0 1 0,0 0-1,1 0 1,-1 0 0,1 0 0,0 0-1,1 0 1,0 0 0,-1 0-1,2 0 1,-1 1 0,0-1 0,3 10-1,0-7 78,1 1 0,-1-1 0,1 1 0,1-1 0,0-1 0,0 1 0,0-1 0,1 1 0,0-2 0,0 1 0,11 8 0,-3-1-28,-9-10 22,0 1-1,0 0 1,1-1-1,-1 0 1,1 0-1,13 5 1,30 16 173,2-3-1,1-2 1,1-2 0,63 13 0,238 28 1402,-280-54-1314,1-3 0,93-10 0,22-1-57,-190 9-296,52 0 147,84-10-1,-120 8-38,1-2 0,-1 0 0,0 0 0,0-1 0,-1-1 0,0-1-1,0 0 1,0-1 0,22-16 0,-33 20-68,0 1 1,0-1-1,0 0 0,-1 0 1,1-1-1,-1 1 0,0-1 0,0 0 1,-1 1-1,1-1 0,-1 0 1,0-1-1,2-7 0,-3 9-44,-1 1 0,1 0-1,-1-1 1,0 1 0,0 0-1,0-1 1,-1 1 0,1 0 0,-1-1-1,1 1 1,-1 0 0,0 0-1,0-1 1,-1 1 0,1 0 0,-1 0-1,1 1 1,-1-1 0,0 0-1,0 0 1,0 1 0,-1-1 0,1 1-1,-4-3 1,-21-17-66,-1 1 0,-1 1 0,-1 1 0,0 2 0,-2 1 0,0 1 0,0 2 0,-1 2 0,-1 0 0,0 3 0,-51-8 0,15 12-144,0 3 1,0 2-1,-83 14 0,142-13 156,-1 0 0,1 1 0,-1 0 0,1 1 0,0 1 0,0 0 0,1 0 0,-1 1 0,1 0 0,1 1-1,-1 0 1,1 0 0,-14 15 0,19-18 36,1 0-1,-1 1 1,1-1-1,0 1 1,0 0-1,1 0 1,-1 0-1,1 0 0,0 0 1,0 0-1,1 1 1,0-1-1,-1 0 1,2 1-1,-1 0 1,1-1-1,0 1 1,0-1-1,0 1 1,1-1-1,0 1 1,0-1-1,0 1 1,1-1-1,0 0 0,0 0 1,0 0-1,1 0 1,0 0-1,6 9 1,6 6 42,1-1 1,0 0 0,2-2-1,0 1 1,23 14 0,0-2 244,68 36 0,-44-35 97,117 39 0,49-2-109,-188-56-243,48 8 59,156 14 0,-227-32 67,1-1 0,0 0 0,0-2 0,0 0 0,-1-2 0,35-8 0,-53 10-132,1 0 0,-1 0 1,0 0-1,1-1 0,-1 1 0,0-1 1,0 0-1,0 0 0,0 1 1,0-1-1,0-1 0,-1 1 0,1 0 1,-1 0-1,1-1 0,-1 1 1,0 0-1,0-1 0,0 1 1,0-1-1,0 0 0,-1 1 0,1-1 1,-1 0-1,0 1 0,0-1 1,0 0-1,0 1 0,0-1 0,-1-5 1,-1-3-51,1 1 1,-2-1-1,1 0 0,-2 1 1,1-1-1,-7-11 1,3 9-68,-1 1 1,-1-1 0,0 1 0,0 1 0,-1 0-1,-1 0 1,1 1 0,-25-17 0,-8-1-272,-57-29 0,71 41 99,-24-11-176,-2 3 0,-82-26 0,-122-17-1374,-335-80-3530,286 69 5924,150 45 1162,-251-18 0,362 48-1709,-1 2 0,0 2 1,1 2-1,-1 2 0,-73 18 1,108-18 53,0 1 1,1 0-1,0 1 1,0 0-1,0 1 1,1 0 0,1 1-1,-1 0 1,-13 16-1,-33 25 975,51-45-983,0 0-1,0 0 1,0 1-1,0 0 1,1 0 0,0 0-1,0 0 1,1 1 0,-1 0-1,2 0 1,-5 10 0,6-11-33,0 1 1,1-1-1,0 1 1,0-1 0,0 1-1,1 0 1,0-1-1,1 1 1,-1 0-1,1-1 1,0 1 0,1-1-1,4 13 1,-3-11 4,0 1 0,1-1 0,0 0 1,0 0-1,1-1 0,0 1 0,0-1 1,1 0-1,0-1 0,0 1 0,13 9 0,-8-8 76,-1-2-1,1 0 0,1 0 1,-1-1-1,1 0 0,0-1 1,22 5-1,-16-5-21,0-1-1,1 0 1,0-2-1,-1 0 1,1-1-1,0-1 1,-1-1-1,1-1 1,34-9-1,17-7-90,101-42 0,-149 51-44,1-1 1,-2 0-1,0-2 0,0-1 0,-2-1 0,1 0 0,-2-1 0,22-25 0,-31 29 89,0 0-1,-1 0 1,-1-1 0,0 0-1,-1-1 1,0 1 0,-1-1-1,0 0 1,-1-1 0,-1 1-1,0 0 1,0-16 0,-3 24-34,1 0 1,-1 0-1,-1 0 1,1 0 0,-1 0-1,0 0 1,-1 0-1,1 0 1,-1 1-1,0-1 1,0 1-1,-1-1 1,0 1 0,-5-7-1,2 4-12,0 1-1,0 0 1,-1 0 0,0 1-1,-1 0 1,1 0 0,-1 1-1,-11-6 1,-11-3-26,0 1-1,-2 2 1,-63-15 0,93 25 34,-77-17-116,-2 4 1,-121-8-1,157 21-46,-1 1-1,0 3 0,1 1 1,0 2-1,-87 25 1,117-26 90,-1 0 0,2 2 0,-1 0 0,1 0 1,0 2-1,0-1 0,1 2 0,0 0 0,1 0 0,0 1 0,-12 16 1,16-18 25,1 1 1,0 1 0,1-1 0,0 1 0,1 0-1,0 1 1,0-1 0,2 1 0,-1 0 0,1 0-1,1 0 1,0 0 0,1 0 0,0 1 0,2 16 0,0-15 117,0 0 1,1-1 0,1 1 0,0 0 0,1-1 0,0 1 0,1-1 0,1 0 0,9 16 0,-9-19-26,1-1 0,0-1 0,0 1 1,0-1-1,1 0 0,1-1 0,-1 0 0,1 0 0,0-1 0,1 0 1,0-1-1,14 6 0,29 9 137,0-2-1,1-3 1,0-2 0,1-3 0,1-2 0,66 1 0,-22-8 25,0-4 0,158-27 0,-216 23-84,-1-1 1,1-3 0,60-24-1,-85 28-115,0-1 0,-1-1-1,0 0 1,0-1 0,-1-1-1,0 0 1,-1-2 0,-1 1-1,0-1 1,19-25 0,-25 28-19,-1 0 0,0 0 0,6-17 0,-10 25 1,-1-1 1,0 0-1,0 0 0,0 0 0,-1 0 1,1 0-1,-1 1 0,1-1 1,-1 0-1,0 0 0,0 0 1,0 0-1,-1 0 0,1 0 1,-1 0-1,0 0 0,0 0 1,1 0-1,-3-3 0,-1 0-37,0 1 0,0 0 0,0-1 0,-1 1 0,0 1 0,0-1 0,0 1 0,0 0 0,-1 0 0,0 0 0,0 1 0,0 0 0,-12-4 0,-44-21-117,-1 4-1,-1 2 0,-1 3 0,-1 3 1,-75-9-1,54 17 69,0 4-1,-111 8 1,161-1-27,0 2 0,0 1 0,1 2 0,0 2 0,1 1 0,0 2 0,-63 32 0,82-35 56,1-1 0,0 2-1,1 0 1,0 1 0,0 0 0,2 1 0,0 1 0,0 0-1,-15 25 1,23-33 106,0 0-1,1 1 0,0-1 1,0 1-1,1 0 1,0-1-1,0 1 0,0 0 1,1 0-1,0 0 1,1 1-1,-1-1 0,1 0 1,1 0-1,-1 0 1,1 0-1,1 0 0,-1 0 1,1 0-1,0 0 0,1 0 1,0 0-1,0-1 1,0 0-1,1 1 0,6 8 1,0-4 69,1 0 0,-1-1 0,2 0 0,-1 0 0,1-2 1,1 1-1,-1-1 0,1-1 0,1-1 0,-1 0 0,18 6 0,1-2 121,0-2-1,1-1 0,65 6 0,-34-10-22,116-11-1,63-24 49,-201 26-220,56-12-50,-1-5-1,-2-4 1,136-56 0,-209 73-96,0 0 1,0-2-1,-1 0 0,30-23 1,-44 30 40,0-1 0,0 0-1,-1 0 1,0-1 0,0 1 0,-1-1 0,0 0 0,0-1 0,0 1-1,-1-1 1,0 0 0,-1 0 0,0-1 0,0 1 0,3-16-1,-2-23-340,-11 42 42,-39-24 274,-2 3 0,-1 1-1,-1 3 1,0 2-1,-2 3 1,0 1-1,-1 3 1,-92-11-1,-66 12-189,-386 27 1,374 11-7,-282 68 1,282-36 3,29-6 16,-186 53 207,362-100-219,-1 2 0,1 0 0,-28 16 0,42-22 305,0 1-1,1 1 1,-1-1 0,0 0 0,1 1 0,0 0-1,0 0 1,0 0 0,0 0 0,0 0 0,1 1-1,-1-1 1,1 1 0,0 0 0,0-1 0,0 1-1,1 0 1,-1 0 0,1 0 0,0 1 0,-1 5 0,2-8 4,0-1 1,1 0 0,-1 0-1,0 0 1,1 0 0,-1 0-1,1 0 1,-1 0 0,1-1-1,0 1 1,-1 0 0,1 0-1,0 0 1,-1 0 0,1-1-1,0 1 1,0 0 0,0-1-1,0 1 1,0-1 0,0 1-1,0-1 1,0 1 0,0-1-1,0 0 1,0 1 0,0-1-1,0 0 1,0 0 0,0 0-1,0 0 1,0 0 0,2 0-1,38-2 568,1-7-370,-1-2 0,0-2 0,0-1 0,-1-2 0,-2-2 0,50-30-1,-75 40-199,-1-1-1,1-1 0,-2 1 0,1-2 0,-2 0 0,1 0 0,-1-1 0,-1 0 0,0-1 1,-1 0-1,-1 0 0,0-1 0,0 0 0,-1 0 0,-1 0 0,-1-1 0,4-19 0,-7 27-58,0-1-1,-1 1 0,0 0 0,0-1 1,-1 1-1,0-1 0,0 1 0,-1-1 1,0 1-1,0 0 0,-1 0 0,0 0 0,0 0 1,-1 1-1,1-1 0,-2 1 0,1 0 1,0 0-1,-11-10 0,-3-1 25,-1 1 0,0 0 0,-1 1-1,-37-20 1,26 20-27,0 0 0,-1 2 0,0 2 0,-1 0 0,0 3 0,-1 0 0,-50-3-1,-246 2-626,-137 45 99,379-22 436,0 4 0,1 4 0,-104 41 0,140-42 384,-59 34 0,89-43-226,0 1-1,1 1 1,1 1-1,0 1 1,-20 20 0,36-32-27,0 0 0,0 0 0,0 0 1,0 0-1,0 1 0,1-1 0,-1 0 1,1 1-1,1 0 0,-1 0 0,1-1 1,-1 1-1,1 0 0,1 0 0,-1 0 1,1 0-1,0 0 0,0 1 0,0-1 1,1 0-1,-1 0 0,1 0 0,1-1 1,-1 1-1,4 7 0,-2-5 49,0-1 0,1 0 0,0 0 0,0 0 0,1-1 0,-1 0 0,1 1 0,0-2 0,1 1 0,-1 0 0,1-1 0,0 0 0,0-1 0,0 1 0,1-1 0,-1 0 0,12 3-1,19 4 306,0-2 0,1-2 0,72 4 0,-35-10-27,78-9-1,-123 5-265,-1 0 1,0-2-1,0-1 1,33-13-1,-52 17-70,0-1-1,0-1 1,0 0-1,-1 0 1,0-1-1,0 0 1,0-1-1,-1 1 1,0-2 0,0 1-1,0-1 1,-1 0-1,-1-1 1,10-15-1,-14 21-62,-1 0-1,-1 1 0,1-1 1,0 0-1,-1 0 0,1 0 0,-1 0 1,0 0-1,0 0 0,0 0 1,0 0-1,0 1 0,-1-1 1,0 0-1,1 0 0,-1 0 0,0 0 1,-2-3-1,-1-3-179,-1 1-1,0-1 1,-9-11-1,9 13 155,-8-4-970,-31-15 759,-1 2 1,-1 2-1,-1 2 1,0 3-1,-2 1 1,-74-14-1,41 16 150,41 10-229,-151 1 309,-288 32 0,361-14 96,1 6-1,1 4 1,-209 76 0,289-86-82,0 3 0,1 1 1,1 1-1,1 2 0,0 1 1,2 2-1,-50 50 0,77-70 86,1-1 0,0 1 1,0 0-1,1 0 0,0 1 0,-1-1 0,2 1 0,-1 0 0,1-1 0,-4 13 0,6-15 24,-1 0 0,1 0 0,0 0 0,0 1 0,0-1-1,0 0 1,1 0 0,-1 0 0,1 0 0,0 0 0,0 0-1,0 0 1,0-1 0,0 1 0,0 0 0,1 0 0,0-1 0,-1 1-1,1-1 1,0 0 0,0 1 0,0-1 0,1 0 0,3 3 0,4 1 128,-1 0 0,1-1 0,0 0 0,0-1 1,0 0-1,1 0 0,-1-1 0,22 3 0,7-1 393,44-1 0,-16-6-299,0-4 0,0-2-1,92-25 1,-91 19-105,-23 5 61,1-2-1,-2-2 0,1-1 1,-2-3-1,79-42 0,-117 56-68,-1 1-69,-1 0-1,0 0 1,0 0 0,1 0-1,-1-1 1,-1 0-1,1 1 1,0-1 0,-1 0-1,1 0 1,1-4-1,-4 6-95,0 1 0,0-1 0,0 0-1,0 0 1,0 1 0,-1-1-1,1 0 1,0 0 0,-1 1 0,1-1-1,-1 0 1,1 1 0,0-1 0,-1 0-1,1 1 1,-1-1 0,0 1-1,1-1 1,-2 0 0,0-1-17,-9-10-65,0 0 1,-1 0-1,-1 1 1,0 1 0,-1 0-1,1 1 1,-2 1-1,-25-12 1,17 11-28,-1 1 1,0 1 0,0 1-1,0 1 1,-30-2 0,-22 5-171,0 3 0,-138 19 0,163-14 240,-241 45-220,91-13 265,-159 46 320,292-66-212,2-4-82,40-9-19,1 1 1,0 1 0,-26 10 0,45-14-18,-1 0 1,1 1-1,0-1 1,0 1-1,0 1 1,0-1-1,1 1 1,0 0-1,0 0 1,0 0-1,0 1 1,1-1-1,0 1 0,0 0 1,-4 11-1,7-16 30,0 1-1,0 0 0,1 0 1,-1 0-1,1 0 0,-1 0 1,1-1-1,0 1 0,0 0 1,0 0-1,0 0 0,0 0 1,0 0-1,1 0 0,-1 0 1,0 0-1,1 0 0,0-1 1,-1 1-1,2 2 0,0-1 10,0 0-1,0-1 1,1 1-1,-1-1 1,0 1-1,1-1 1,0 0-1,-1 0 1,1 0-1,5 2 1,5 2 93,0-1 1,0 0 0,0-1-1,22 4 1,23 1 89,1-2 0,0-3 1,0-3-1,102-10 0,-80-2-24,-1-3 0,147-47 0,-209 55-282,-1-1 0,0-1-1,16-9 1,-32 16 77,-1 1-1,1 0 1,-1-1-1,1 1 1,-1-1-1,1 1 1,-1-1-1,1 0 1,-1 1 0,0-1-1,1 0 1,-1 1-1,0-1 1,0 1-1,1-1 1,-1 0-1,0 0 1,0 1 0,0-1-1,0 0 1,0 1-1,0-1 1,0 0-1,0 0 1,0 1-1,0-1 1,0 0-1,0 1 1,-1-1 0,1 0-1,0 1 1,0-1-1,-1 0 1,1 1-1,0-1 1,-1 1-1,1-1 1,-1 0 0,1 1-1,-1-1 1,1 1-1,-1-1 1,1 1-1,-1 0 1,0-1-1,0 0 1,-30-21-415,30 21 425,-24-12-213,-1 0 0,0 2 0,-1 0-1,0 2 1,-1 1 0,-49-7 0,-176-8-260,232 22 431,-149 0 27,-197 24 0,262-13 20,-42 7-188,-268 67 0,162-10 137,239-71 82,1 1 0,-1 1 0,0 1-1,1 0 1,0 0 0,1 1 0,-19 14 0,30-20-27,0 0 0,0-1 0,0 1 0,0 0 0,1 0 0,-1 0 0,0 0 0,1 0 0,-1 0 0,1 0 0,-1 0 0,1 0 0,-1 0 0,1 0 0,0 0 0,0 0 0,-1 0 0,1 0 0,0 0 1,0 1-1,0-1 0,0 0 0,1 2 0,-1-1 2,1 0 1,0 0-1,0-1 1,0 1-1,0 0 1,0 0 0,0-1-1,1 1 1,-1-1-1,1 1 1,-1-1-1,3 2 1,5 3 96,0 0 0,0-1 0,19 8 1,-27-12-82,17 6 75,1-2 0,-1 1 1,1-2-1,1-1 0,-1 0 0,0-1 0,26-2 0,135-14 136,-107 6-128,427-48 532,-10 2-1652,-480 53 1045,1 0-1,-1-1 0,1 0 1,12-4 184,-40-5-326,6 7 106,-1 0 0,1 1 0,-1 0 1,0 0-1,0 2 0,0-1 0,0 2 0,-18 0 0,8-1-5,-54 1-252,1 3-1,-105 18 1,134-8-299,45-10 305,0-3 268,1 1 0,0 0 0,0-1 0,-1 1 1,1 0-1,0-1 0,0 1 0,0 0 0,0-1 0,0 1 0,0 0 0,0-1 1,0 1-1,0 0 0,1 0 0,-1-1 0,0 1 0,0-1 0,1 1 0,0 1 1,3 2 30,0-1 0,1 0 0,0 0 0,0 0 1,0 0-1,0-1 0,0 1 0,0-1 0,1-1 1,-1 1-1,1-1 0,10 2 0,15 0-35,35 0 0,-36-3 6,532 6 70,372-65-446,-540 43 334,-133 9 128,-10 7 160,19 0-94,61-14 144,-22-4 640,-167 18-647,-199 5-356,-72-4 0,-12 0-85,-281 37 36,74-6 37,104-14 35,-324 28 238,176 5-678,-90 14-768,363-45 188,107-17 913,51-11-54,1 3 0,45-1 0,-27 2 462,648-8 435,-289 13 171,-193-3-730,293-10 98,-47-1-182,-233 8-26,126-12 164,268 26-186,-529-3-43,357 34-168,-377-29-5,1-4 1,0-3 0,165-15-1,-51 3-115,-171 2 3462,-36 3-2927,-124-14-2004,-194-1-1,135 11 876,138 4 720,-974-43-6095,842 44 3030,-54 8 2873,168-3 27,-21 1 3029,94-5-2645,15 11 129,24 4-627,20-6 1306,0-3-1,86-4 1,-31 0-262,400-4-220,-408 2-542,527-37 564,-313 14 120,134-36 687,-10-43-66,-435 101-1110,-1 1 1,0-2 0,-1 1 0,1-1-1,0 0 1,-1-1 0,1 0-1,-1 0 1,7-6 0,-14 10-15,0 0 1,1-1 0,-1 1-1,0 0 1,1-1-1,-1 1 1,0 0-1,1-1 1,-1 1 0,0-1-1,0 1 1,1-1-1,-1 1 1,0 0-1,0-1 1,0 1 0,0-1-1,0 1 1,0-1-1,0 1 1,0-1-1,0 1 1,0-1 0,0 1-1,0-1 1,0 1-1,0-1 1,0 1 0,0 0-1,0-1 1,-1 1-1,1-1 1,0 1-1,0-1 1,-1 1 0,1 0-1,0-1 1,0 1-1,-1 0 1,1-1-1,-1 0 1,-18-10-123,15 9 133,-29-12-65,1 1 0,-2 1 0,1 2 0,-66-11 0,-146-4-633,230 24 581,-902 0 292,292 68 198,246 9 52,306-55-413,1 4-1,0 3 1,-69 37 0,133-60-250,-1 0-1,1 1 0,1 0 0,-1 0 1,1 0-1,-13 14 0,19-18 224,0-1 1,0 0-1,0 0 0,0 1 0,0-1 0,0 0 0,0 1 0,0-1 0,1 1 0,-1 0 0,0-1 0,1 1 0,-1-1 1,1 1-1,0 0 0,0-1 0,-1 1 0,1 0 0,0-1 0,0 1 0,1 0 0,-1-1 0,0 1 0,1 0 0,-1-1 0,0 1 1,1 0-1,0-1 0,-1 1 0,1-1 0,0 1 0,0-1 0,0 0 0,0 1 0,0-1 0,0 0 0,0 1 0,1-1 0,-1 0 1,0 0-1,1 0 0,-1 0 0,1-1 0,-1 1 0,4 1 0,6 2 106,1-1 0,0 0 1,0-1-1,0 0 0,0-1 0,0-1 0,0 0 1,24-3-1,-16 2-45,193-19 709,-105 7-504,310-38-20,-2 0-500,-49 0-20,-239 31-182,-89 14 469,-12 0 168,0 3 1,-1 0 0,27-9 2236,-90-1-2012,2 9-353,0 2 0,-37 2 0,-9-1 2,48 0 44,-535-4-1504,282 15-1118,38-2-4522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4.52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6456,'0'0'0,"9"13"0,9 3 0,-2 5-1120,1 1 1120,17-8-1120,12-5 1120,34 14-240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359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644 1113 2424,'-87'1'1479,"-94"-2"2830,166 0-3541,-1-1 0,-16-4 0,18 3-302,0 0-1,-1 1 1,-15 0-1,2 1-402,0-1-1,-33-8 0,31 5 134,-49-2 0,-171 6 459,68-13-141,121 7-399,-63 0 0,52 8 11,3 0-391,-72-7 0,117 2 444,-1-1 1,-38-12-1,-10-2 1040,42 14-827,-51-3 0,45 6-412,22 0 133,0-1 1,1 0-1,0-1 0,-21-8 1,-16-4 159,-32-4-179,-37-5-158,-52-9 103,34 7-140,75 13 99,-76-13-80,103 21 50,0 1-1,-61-2 1,-15-1 35,101 6-3,-40-2 0,-136-21 63,19 1-42,-155 14-582,311 10 560,11 0-52,-1 0 1,1 0 0,0 0-1,0 0 1,0 0 0,-1 0-1,1 1 1,0-1 0,0 0-1,0 0 1,0 1 0,0-1-1,0 1 1,0-1 0,-2 1-1,29 36-5833,-20-32 6655,3 3-876,1-1-1,0 0 0,0-1 0,1 0 0,0 0 0,0-1 1,0 0-1,13 3 0,15 3-514,45 7 0,-60-13 392,30 3-460,69 4 0,1-1 312,44 9-1972,23 3 5372,-152-20-2537,0-1 0,0-2 0,52-5 0,-38 2-269,-33 2-268,-13 0-47,0 0 0,1 1 0,-1 0 0,0 0 0,0 0 0,0 1 0,21 4 3796,-126-11-2928,61 2-1005,-63 3-1,13 1 106,6-4 109,-86-2-87,68 4 674,0-3 0,-118-20 0,174 18-331,1-1 0,0-3-1,1 0 1,-48-21 0,69 22 164,2 0-1,0-2 1,1 0 0,-25-21-1,-6-5-160,14 12-88,22 16-96,-1 0 1,0 1 0,0 0 0,-1 1-1,-22-10 1,24 12 36,0 0 0,1 0 0,-1-1-1,-10-9 1,-2 0 2,-34-25-25,37 25-143,-1 0 1,-46-23-1,45 26 19,-1 0-1,-23-19 1,5 4 63,-26-12-161,58 34 156,0 0 0,-14-5 0,11 5-4,1 0 0,-16-10-1,-40-35-236,66 49-41,4-5-1064,-1 5 1208,-1 0 0,1 1 1,0-1-1,0 0 0,0 1 0,0-1 1,1 1-1,-1-1 0,0 1 1,1 0-1,-1-1 0,1 1 0,-1 0 1,1 0-1,0 0 0,0 0 1,2-2-1,9-2-419,0-1 0,16-4 1,-1 0-254,173-83-4298,-144 67 1794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5.18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652 652 6104,'800'-64'4469,"-669"54"-3764,98-15 1557,-227 24-2155,0 1 0,0 0 1,0-1-1,0 1 1,0-1-1,0 1 0,0-1 1,0 0-1,0 0 1,0 0-1,0 0 0,6-20 2524,-8 17-2451,-10 1-42,-140-39-36,-3 6 1,-286-28 0,-356 23 261,754 41-370,-365 9-248,-93-1-151,305-10 335,-206 27-575,360-21 569,-9 0 34,0-2 0,0-2 0,0-2-1,1-2 1,-1-3 0,-69-18 0,114 24 49,0 0 0,0-1 0,0 1 0,0-1 0,0 0 0,0-1 0,1 1 0,-1 0 0,1-1-1,0 0 1,0 0 0,0 0 0,0 0 0,0-1 0,1 1 0,-1-1 0,1 1 0,0-1 0,0 0 0,0 0 0,1 0 0,-1 0 0,1 0 0,0 0-1,0 0 1,0-1 0,1 1 0,0 0 0,0-1 0,0 1 0,0 0 0,0 0 0,1-1 0,0 1 0,0 0 0,0 0 0,0 0 0,1 0 0,0 0-1,0 0 1,0 0 0,0 0 0,0 1 0,1-1 0,-1 1 0,1 0 0,0 0 0,0 0 0,5-4 0,10-5-32,0 1 0,1 1 0,1 0 0,0 2 0,0 0 0,23-6 0,134-23-589,-141 30 456,16-3 84,249-35-268,-298 45 57,23 0 1987,-36 4-1332,-463 127 46,396-111-374,20-6 6,-104 41 0,80-23-44,46-19-210,-49 25-1,79-36 144,1 1 1,0-1-1,0 2 0,0-1 0,0 0 1,0 1-1,1-1 0,0 1 0,-4 5 1,6-8 21,1 0 1,-1 0 0,1 0 0,-1 0 0,1 0 0,0 0 0,-1 0 0,1 1 0,0-1 0,0 0-1,0 0 1,0 0 0,0 0 0,0 0 0,0 1 0,0-1 0,0 0 0,0 0 0,1 0 0,-1 0 0,0 0-1,1 0 1,-1 0 0,1 0 0,-1 0 0,1 0 0,0 0 0,-1 0 0,1 0 0,0 0 0,0 0 0,0 0-1,-1-1 1,1 1 0,0 0 0,0-1 0,0 1 0,0-1 0,0 1 0,0-1 0,0 1 0,1-1-1,-1 0 1,0 1 0,2-1 0,12 4 34,0-1 1,1-1-1,-1 0 0,1-1 0,0 0 0,-1-1 0,1-1 0,19-4 1,2 2 20,434-52 58,275-81 1143,-590 117-797,317 3 1,-400 22-613,0 2-1,89 23 1,-142-27-223,166 43-1540,-109-32 2261,1-3 1,125 2-1,-175-14-39,85-3 760,-54-3 1852,-59 3-3062,-1 1 0,1-1 0,-1 1 0,0-1-1,0 1 1,1-1 0,-2 1 0,1-1 0,0 1-1,0 0 1,-1 0 0,-2-4 0,-4 0-654,0 0 0,0 0 0,0 1 0,-1 0-1,0 1 1,0 0 0,0 0 0,0 1 0,-1 0 0,-16-3 0,11 2 88,-81-22-598,-48-13-972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017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215 0 8432,'5'6'34,"1"-1"1,-1 0-1,1 0 1,0 0-1,1-1 1,-1 0-1,1 0 1,0-1-1,0 0 1,0 0-1,0 0 1,11 2-1,12 1 308,53 5 0,-61-9-260,655 33-5220,-191-16 6214,-7 37 1204,-323-22-459,25 4 238,-55-16-1141,-1 5 0,-1 5 0,210 86 0,-310-110-958,0-1 0,0-1 0,0-1 0,0-1 0,1-1 1,48-1-1,-9 1 53,-44-1 239,0 0 1,0 2-1,0 0 0,31 12 782,-55-15-696,-297 131 1017,200-88-1424,-128 37-1,189-71-119,0-2-1,0-2 0,-1-1 0,1-2 1,-59-4-1,-285-34-2311,367 32 2118,0-1 0,-27-9 1,154 16-6241,-86-3 6559,133-5-1211,66 2-2243,45-11 17811,-280 11-14250,0-1 0,0 1 0,-1 1 0,0 0 0,1 1 0,-23 1 0,-74 10 65,68-4-81,-163 26-55,165-23-178,2 1 0,0 2 0,-47 21 0,-327 164-223,382-182 530,-2-1 1,0-1 0,-1-1-1,0-2 1,0-2 0,-56 8-1,-7-4-98,54-5-102,-60 0 0,71-5 93,-1 1 0,1 1 0,0 1 0,0 1 0,0 2 0,1 2 0,1 0 0,-34 17 0,32-14 92,0-3-1,-1 0 1,0-2-1,-1-1 1,-59 5-1,35-7-66,-237 30-20,158-4-1950,106-27 543,-1-2 1,0 0-1,1-2 0,-1-2 0,1 0 1,-48-11-1,14 1-932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111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0 992,'0'0'0,"11"2"0,6 5 0,12 0-264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6.700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 569 7536,'36'25'494,"-24"-16"-44,1-1-1,0 0 0,0-1 1,1 0-1,26 9 0,-17-10-200,2-2 0,-1-1 0,0 0-1,1-2 1,-1-1 0,1 0 0,-1-2 0,31-7-1,11-5-525,111-40 1,-73 11-1157,-1-5 1,154-97-1,-63 44 849,-151 77 56,2 3 0,0 1 0,50-13-1,146-26-2001,-189 49 2650,-1 2 1,1 2 0,98 2-1,12 9 120,-21-1 846,67-6 207,-150-1-1145,164-18 1011,-35 1 150,233-7 3920,-394 27-4793,1 1 0,38 7 0,-33-4 55,36 1-1,-44-5-435,172 5 452,-166-3-666,1 2 0,0 2-1,-1 0 1,37 14 0,-30-8-433,1-3 1,1-1 0,63 6-1,-5-2-694,-79-7 841,1 0 1,31 13 0,4 2-102,-29-12 682,-1 2 1,0 1-1,0 1 0,23 16 0,83 65 2220,-63-44-1462,-61-44-745,0-1-1,0-1 1,1 1 0,0-1 0,-1 0 0,1-1 0,0 0 0,0 0 0,0 0 0,1-1 0,-1 0 0,0 0 0,1-1 0,-1 0 0,0 0 0,8-1 0,6-4-39,0 0 1,0-1-1,-1-1 1,20-9-1,47-16-179,-31 19 22,1 2-1,0 3 0,110-1 1,-160 9-38,-1 0 1,0 0-1,0 0 0,1-1 1,-1 0-1,0-1 1,0 1-1,0-1 1,0 0-1,0 0 0,0-1 1,-1 0-1,1 0 1,-1 0-1,8-6 1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228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0 0 816,'0'0'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7:17.385"/>
    </inkml:context>
    <inkml:brush xml:id="br0">
      <inkml:brushProperty name="width" value="0.35" units="cm"/>
      <inkml:brushProperty name="height" value="0.35" units="cm"/>
      <inkml:brushProperty name="color" value="#E71224"/>
    </inkml:brush>
  </inkml:definitions>
  <inkml:trace contextRef="#ctx0" brushRef="#br0">199 0 2520,'-1'16'1289,"-1"-1"1,0 1-1,-1-1 0,-1 0 1,-11 27-1,12-35-1053,-1 0 0,0 0 1,0-1-1,-1 1 0,0-1 0,0 0 1,0 0-1,-1-1 0,0 0 1,0 0-1,0 0 0,-1-1 0,-9 6 1,-44 23 1077,31-21-1516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35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6 0 816,'0'0'0,"-2"2"0,-2 0-8,1 1 8,0-2 0,1 1 0,1-2-128,0 1-552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43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95 1 728,'0'0'0,"-5"6"0,-12 10 0,-17 18-72,-4 3-584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8:56.63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269 0 816,'0'0'0,"-10"8"0,-18 16 0,-21 17 40,-18 15-40,-14 14 48,-8 8-48,-4 4 0,0 1 0,5-3 0,8-6 0,9-8 8,10-10-8,11-11 16,12-10-16,6-8 24,2-5-24,-1-3 32,-3 1-32,-3 2 0,-3 3 0,2-1 0,6-3 0,6-4-8,8-4 8,6-5 0,3-2 0,3-2 8,-1-1-8,0 0 16,2-2-16,2 1 8,1-2-8,1 0 16,1 0-16,0 0 8,0 0-8,3-1 16,4-3-16,1-1 8,0 2-8,5-4 16,11-5-16,12-6 8,11-6-8,8-6 8,7-5-8,15-10-344,-6 1-40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8.613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433 992,'0'0'0,"2"-2"0,6-1 0,2-2 8,-1 2-8,-3 0 8,-1 1-8,-2 1 8,-2 0-8,-1 1 16,4-2-16,4-3 8,4-3-8,5-3 16,5-4-16,5-5 8,4-5-8,2-6 8,3-5-8,1-4 8,3-4-8,2-3 8,3-4-8,4-3 24,4-3-24,4-2 24,5-2-24,3-4 2384,1-2-2384,4-6 2392,5-8-2392,7-7 1224,4-6-1224,6-1 1224,2 2-1224,1 3 576,-1 3-576,-3 4 584,-2 0-584,-2 1 600,0 0-600,1 0 600,3 2-600,2 2-32,1 2 32,0 2-32,-2 0 32,-3-2 432,-1-1-432,-1-1 440,0 1-440,0 3 8,1 4-8,-5 6 16,-7 7-16,-9 6 24,-5 5-24,-6 5 32,-4 1-32,-2 0-80,-4-1 80,-1 1-72,-2 1 72,-2 4 424,-2 4-424,-2 5 424,-4 3-424,-4 2 112,-3 4-112,-4 1 120,-2 2-120,-3 1 72,0 1-72,-1 0 72,-1 1-72,0 0 296,0 1-296,-1 0 296,0 1-296,-1 1-1168,-1 1 1168,-3 1-1160,0 1 1160,0-1-7440,-1 1 393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46.722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426 228 992,'99'-44'15,"-58"27"521,78-28 5776,-126 50-5834,-18 10-1694,21-12 1436,-91 51-903,-191 81-1,132-62 1231,100-46-200,35-15 14,16-10-299,0 0-1,0 0 1,-1 0 0,1-1-1,-1 1 1,1-1 0,-1 1-1,-4 0 1,2 2-500,778-348-4369,-719 323 4851,106-25 1,-102 31 282,48-8 114,-70 17-899,-16 2 74,0 1 0,31-1 1,-85 18 103,-57 29 166,-65 19-58,62-24-221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09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3603 3680,'0'0'0,"2"-2"0,5-3 0,3-3-976,0-2 976,1 0-968,0-1 968,0 0-40,3-2 40,2-3-40,4-3 40,5-4 832,6-5-832,3-3 840,4-3-840,4-3 464,2-2-464,4-2 472,3-5-472,3-2 976,1-4-976,1-4 976,3-5-976,2-3 1048,3-3-1048,6-6 1048,9-6-1048,5-6 1368,5-4-1368,2-2 1376,-1-2-1376,-2 2 568,-2 1-568,2 4 576,0 4-576,1 5 336,0 4-336,-1 0 336,0-1-336,0-4 480,2-6-480,4-3 480,4 0-480,3 0 216,-1 0-216,-1 0 216,-3 1-216,-1-2 224,-1-1-224,-1 0 224,2 4-224,-1 3 120,-3 4-120,-4 4 128,-5 5-128,-7 6 40,-9 6-40,-10 8 40,-7 6-40,-8 6-944,-4 5 944,-6 5-944,-5 6 944,-4 4-4112,-5 5 4112,-4 3-4112,-3 4 4112,-2 1-2192,-1 2-544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0.10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329 4936,'0'0'0,"4"-3"0,8-8 0,9-7 1040,6-7-1040,7-5 1048,4-6-1048,5-5 1328,3-5-1328,4-5 1328,3-4-1328,4-4 920,4-4-920,7-7 920,10-9-920,7-9 720,8-7-720,3-4 728,2-1-728,2 0 408,0 1-408,1 1 408,0 1-408,3 1-8,1 1 8,1 1-8,1 0 8,1-1 56,0 0-56,1 0 64,-2-1-64,0 1 24,-1 4-24,-1 3 24,0 3-24,-1 2 0,-3 2 0,-3 3 0,-5 1 0,-5 3 144,-4 2-144,-5 4 152,-5 5-152,-5 7-864,-6 6 864,-4 8-856,-6 6 856,5-1-8696,-8 7 488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1.87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4443 2968,'0'0'0,"4"-4"0,8-6 0,7-7 1544,8-7-1544,7-5 1552,5-5-1552,5-3 120,1-3-120,3-2 120,2-1-120,1-2 1608,4-3-1608,1-1 1616,1-2-1616,1-1 656,0-4-656,2-1 656,1-2-656,3 0 280,3-2-280,5-3 288,7-5-288,5-5 464,4-4-464,2-4 464,0-2-464,1-1 128,0 0-128,1 0 136,1-1-136,1-1 384,1-3-384,1-3 392,2-2-392,2-1-192,2 1 192,2 0-184,1 2 184,0 0 344,-1 2-344,-2 0 352,0 2-352,1 1 40,1 4-40,0 3 48,-3 3-48,-4 2-104,-2 0 104,-4 0-96,-1-1 96,-1 0 360,3 3-360,1 2 368,-1 4-368,-3 2 328,-5-1-328,-4-1 328,-4 0-328,-4 2 40,-6 4-40,-3 5 40,-3 6-40,-5 4 72,-6 3-72,-5 4 72,-3 5-72,-3 3-992,-3 5 992,-4 4-992,-5 5 992,0 2-9184,-4 4 516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2.6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4617 5384,'0'0'0,"4"-4"0,10-9 0,10-10 1176,9-10-1176,8-9 1184,7-6-1184,6-5 840,5-3-840,5-2 848,5-1-848,5-4 472,8-7-472,7-6 480,4-4-480,3-3 576,0-3-576,1-1 576,1 0-576,2-2-8,2-2 8,2-2-8,-1-1 8,2-1 128,4 0-128,1-2 136,1 1-136,1 0 496,0-1-496,0 0 504,0-1-504,0-1-64,0 1 64,0 0-56,-2 1 56,0 1-120,-1 2 120,0 0-120,-1 0 120,-1 0 312,0-1-312,0 1 320,0 1-320,-1 2 32,2 3-32,-2 2 32,-3 1-32,-4 1-328,-5 1 328,-3 3-328,-4 4 328,-3 4 344,-1 5-344,-6 8 344,-6 7-344,-8 9 48,-5 5-48,-4 6 48,-4 2-48,-4 1-240,-3 0 240,-2 0-240,-3 1 240,-1 2-1928,-1 2 1928,-1 1-1920,-1 3 1920,3 0-5736,-4 2 2552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291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2446 2608,'0'0'0,"3"-2"0,3-3 0,5-4 568,3-4-568,2-3 568,5-3-568,5-3-320,4-4 320,5-4-320,3-4 320,6-6 1392,5-4-1392,6-5 1400,4-3-1400,4-4 512,3-3-512,2-2 520,2-3-520,7-3 176,8-5-176,8-7 184,6-5-184,4-5 64,1-2-64,0 1 64,-4 2-64,-3 4 656,-2 4-656,-2 5 656,-3 4-656,-3 2 480,-1 0-480,-1 0 480,0 1-480,0 0 96,2-1-96,1 1 96,3 2-96,0 3 40,1 5-40,-3 3 48,-8 5-48,2-5-7008,-12 8 4048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3.94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98 992,'0'0'0,"0"0"0,4-3 0,5-4 1112,4-3-1112,4-6 1120,5-4-1120,6-5 1824,4-3-1824,3-5 1824,5-4-1824,5-3 592,2-4-592,6-4 592,3-4-592,3-1-488,3-3 488,2-1-488,2-2 488,1 0 1248,1-1-1248,-1 2 1256,-2 1-1256,-3 3 432,-3 4-432,-3 4 440,-5 4-440,7-3-7472,-7 7 4488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4.35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177 992,'0'0'0,"4"-5"0,8-7 0,10-9 800,11-9-800,7-7 800,7-7-800,5-5 904,1-6-904,2-3 912,4-5-912,2-1 1664,3-1-1664,4-3 1664,8-6-1664,2-1 856,-2 3-856,-6 4 856,-5 6-856,-7 7-560,-5 7 560,-5 5-560,-3 6 560,4-1-5632,-6 5 2936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120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080 5560,'0'0'0,"0"0"0,4 0 0,2 0 1064,-1 0-1064,0 0 1072,2-4-1072,3-4 16,4-7-16,5-7 16,5-6-16,6-6-592,6-6 592,7-6-592,7-2 592,6-4 616,6-1-616,3 0 616,1 1-616,1-1 248,0-1-248,0 1 248,2 0-248,-1 3 16,0 3-16,-1 0 16,-3 3-16,-3 1-2424,-4 2 2424,-5 3-2424,-4 4 2424,4-3-1512,-7 7-432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6.4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1559 9416,'0'0'0,"0"0"0,3-1 0,2 1 848,3-1-848,3-1 856,4-5-856,5-6 784,7-7-784,6-6 792,9-8-792,10-7 160,9-6-160,8-4 160,8-5-160,10-6 256,11-9-256,10-7 264,5-7-264,5-3-368,3-2 368,-2 0-360,-5 2 360,-6 3 696,-7 3-696,-5 4 704,-5 6-704,-5 5-4584,-5 8 4584,-6 7-4584,-9 10 4584,1 3-2160,-11 8-72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012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381 9504,'0'0'0,"4"-3"0,6-6 0,8-6 992,9-6-992,6-7 1000,7-6-1000,5-4 776,4-4-776,3-1 776,2-2-776,8-9-9504,-6 5 596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01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93 848 8248,'24'-6'-318,"-9"3"-126,0-1 0,0-1 0,-1 0-1,16-7 1,88-39 2627,2-1-1538,400-207 2079,-402 204-1473,77-40 754,-98 50 571,-106 45-2478,-2 2-183,1 1-1,-1 0 1,1 0-1,0 0 1,-1 1-1,-15 9 1,5-3-87,-240 100-246,-68 31 575,318-136-148,-9 4-50,-26 16 1,81-27-1303,34-23 1821,103-52 0,-24 9 98,256-69-501,-363 125-76,207-55 12,-196 53-1,-37 9-6,1 0-1,0 1 1,0 1 0,0 0 0,0 1-1,27 0 1,-29 3 18,-11-1 13,1 1 0,0-1 0,0 0 0,0 0 0,-1 0 0,1 0 0,0-1 0,0 1 0,-1-1 0,1 0 0,0 0 0,3-1 0,-68 30 33,-1-2-1,-70 20 0,124-43-65,-192 57-523,46-15 81,-659 238-1882,618-216 2296,21-9 24,35 5-1498,116-54 1093,40-9-373,-1-1 872,-1-1 1,1 0 0,21-7 0,61-21 567,-38 10-746,101-32 656,234-105-1,-133 24 459,-210 104-866,51-26 315,-94 51-504,14-7 1373,-22 11-1335,-1 0 1,0 0-1,0 0 0,0 0 1,0 0-1,0 0 0,0 0 1,0-1-1,0 1 0,0 0 1,1 0-1,-1 0 0,0 0 0,0 0 1,0 0-1,0 0 0,0 0 1,0 0-1,0 0 0,0-1 1,0 1-1,0 0 0,0 0 1,0 0-1,0 0 0,0 0 1,0 0-1,0 0 0,0 0 1,0 0-1,0-1 0,0 1 1,0 0-1,0 0 0,0 0 1,0 0-1,0 0 0,0 0 0,0 0 1,0 0-1,0 0 0,0 0 1,-1-1-1,1 1 0,0 0 1,0 0-1,0 0 0,0 0 1,0 0-1,0 0 0,0 0 1,0 0-1,-1 0 0,-13-2-43,4 4-10,0-1 0,0 1 1,0 0-1,1 1 0,-1 0 0,1 0 0,0 1 1,-12 7-1,-3 0-28,-140 64 66,29-11-7,73-34-350,-95 65 0,120-72 130,33-20 215,27 6-3076,-16-9 3120,0 0-1,0-1 1,0 0-1,0 0 1,9-4-1,49-17 467,-56 19-372,487-207 91,-397 167-117,114-36 0,-129 58 1520,-130 40-1433,-87 48 0,86-42-131,-41 22-130,-178 89-3323,-176 70 3402,268-123-1058,83-36-1084,90-46 2064,0-1 1,0 0 0,1 0-1,-1 1 1,0-1 0,1 0 0,-1 1-1,0-1 1,1 1 0,-1-1-1,1 0 1,-1 1 0,0-1-1,1 1 1,-1 0 0,1-1-1,0 1 1,-1-1 0,1 1-1,-1 1 1,1-2 21,1 1-1,-1-1 1,1 0-1,-1 0 1,1 1-1,-1-1 1,1 0-1,-1 0 1,1 1-1,-1-1 1,1 0-1,-1 0 1,1 0-1,-1 0 1,1 0-1,0 0 0,-1 0 1,1 0-1,-1 0 1,2 0-1,4 0 370,0 0-1,0-1 1,0 0-1,9-2 0,291-115 3251,-84 30-2633,134-64-341,-159 65-743,-173 77 129,40-11-1,-62 21 177,10-7 1007,-9 7-985,-13 5-244,-97 63 90,-17 9 28,-100 31 90,-57 30-112,229-110-46,-59 36-970,110-64 892,0 1 0,1-1 0,-1 1 0,0-1 0,1 1 0,-1-1 0,0 1 0,1-1 0,-1 1 0,1-1 0,-1 1 0,1 0 0,0-1 0,-1 1 0,1 0 0,0-1 0,-1 2 0,1-2 55,0 1 0,0-1-1,0 0 1,1 0 0,-1 1-1,0-1 1,0 0 0,0 0 0,3 2-477,-2-1 477,-1-1 0,0 0-1,1 0 1,-1 0 0,0 0 0,1 0-1,0 0 1,2 0-10,1 1 1,0-1-1,0 0 0,0-1 1,0 1-1,5-2 0,62-15 1371,112-41 0,64-43-939,-235 96-339,73-33 53,115-44 74,-50 28 135,82-25-257,-160 58 1049,-78 28-244,-112 65-665,56-37-173,-201 101-185,102-57-134,-251 138-924,369-195 206,-72 51 0,195-83-3964,-23-14 6989,71-37 1,-21 8-1791,753-301 2396,-844 348-2612,155-65 574,-156 63 67,-23 13-200,-27 13-385,-576 237-1098,223-93 520,335-139 562,-108 44-26,115-51 38,43-15-30,0 0 0,0 0 0,0 0-1,0-1 1,-1 1 0,1-1 0,0 0 0,0 0-1,-1 0 1,1 0 0,0 0 0,-4-1 0,5 0 13,1 0 0,0 0 1,-1 0-1,1 0 1,0 0-1,0 0 1,0 0-1,0-1 0,0 1 1,0 0-1,0-1 1,0 1-1,0 0 1,1-1-1,-1 1 0,1-1 1,-1 1-1,1-1 1,0 1-1,-1-1 1,1-2-1,0-40 1220,0 30-665,0-9-420,-2 0 1,-1 0-1,-2 0 1,-13-41-1,15 57-229,0 0 0,0 1 0,-1-1 0,0 1 0,0 0 0,-1 0 0,0 0 0,0 0 0,-1 1 0,1-1 0,-1 1-1,-1 1 1,1-1 0,-1 1 0,0 0 0,0 0 0,0 1 0,0 0 0,-1 0 0,0 0 0,0 1 0,1 0 0,-1 0 0,-1 1 0,1 0 0,0 0 0,0 1 0,-14 0 0,7 1-29,0 0 0,-1 0 1,1 1-1,0 1 1,0 1-1,-26 8 1,40-11 53,0-1 0,0 1 0,0-1 0,-1 1-1,1-1 1,0 1 0,0 0 0,0 0 0,0-1 0,0 1 0,1 0 0,-1 0 0,0 0 0,0 0-1,1 0 1,-1 0 0,0 0 0,1 0 0,-1 0 0,1 0 0,0 0 0,-1 0 0,1 0 0,0 1 0,0-1-1,0 0 1,0 0 0,0 0 0,0 0 0,0 0 0,0 1 0,0-1 0,1 1 0,1 5-218,1-1 1,0 0-1,0 1 1,7 9-1,2 3-34,-6-6 262,-1 0-1,0 1 1,-1 0-1,-1 0 1,0 0-1,0 19 1,-3-30 1,0 0-1,0 0 1,0 0-1,1 0 1,0 0-1,-1 0 1,1 0-1,0 0 1,0 0-1,1 0 1,-1 0 0,1-1-1,0 1 1,-1-1-1,1 1 1,0-1-1,1 1 1,-1-1-1,0 0 1,1 0-1,3 2 1,3 1 14,-1-1-1,1-1 1,0 1-1,0-1 1,0-1-1,15 3 1,5 1-153,0 1-151,0-1 0,1-1 0,46 1 0,-52-4 770,-21-2-175,0 1-1,0-1 0,0 1 0,0-1 0,0 0 1,23-5 3944,-32 3-3915,0 0 0,0 0 0,-9-6 0,-10-3-70,-134-36-945,148 44 619,-1 1 1,0 0-1,0 0 1,-1 1-1,1 1 1,0 0-1,0 0 1,-1 1-1,-13 2 1,-45 3-490,28-3 277,38-3 215,-6 2 52,0-1-1,1-1 1,-1 0 0,0 0 0,-14-2 0,25 1 57,28 7-2162,24 2 1462,-17-4 730,0 2 0,64 18 0,110 37-1927,-194-57 2847,-12-3-413,1 0 0,0 0 0,-1 0 0,1-1 0,0 1 0,4-1 1,-37 1-1554,20 0 1068,0-1-1,0 0 1,0 0 0,0-1-1,0 0 1,0 0 0,-12-3-1,11 1-123,1 0-1,0-1 1,0 0-1,1 0 1,-1 0-1,1-1 1,0-1 0,0 1-1,-10-11 1,8 8 248,7 5 19,0 0 1,0-1-1,-1 1 1,1 1 0,-1-1-1,0 1 1,0-1 0,0 1-1,-1 0 1,-7-3 318,119 20-4008,105-2 2841,22 3 171,60 18-854,-91-4 1212,-118-16-80,123 8 0,-133-22 580,0-2 0,0-3 0,0-3 0,97-22 0,95-17-512,-217 42 903,-38 5 979,-37 4-1123,-12-1-345,-66-3 0,64-1-77,-62 6 0,-29 8-85,-172 26-14,275-34-53,0 0-1,0-2 0,0-1 0,0-1 0,-1-1 0,-32-3 0,52 1-53,1 1 0,-1-1 0,0-1-1,-13-5 1,20 7-163,2-1-121,-1 1 240,1 0 0,0 0 0,0 0 0,0 0 0,0 0-1,-1 0 1,1 0 0,0 0 0,1 1 0,1-2 0,0-1-28,20-14-51,1 1-1,0 1 0,52-24 1,90-24 0,-84 37-21,2 4 1,1 4-1,104-12 1,262-3-11,-199 27 59,12 0-61,405 8 424,-623 0-181,430 7-118,-397-9 350,398-20 253,-422 14-473,18-1-115,0-2 0,71-19-1,-130 25 200,-11 2-109,1 1-1,-1-1 1,1 0 0,-1 0 0,1 0-1,-1-1 1,0 1 0,0-1 0,6-4 1001,-12 5-985,-19-6-190,-1 0 0,0 2 0,-1 0 0,1 1-1,-49-1 1,-15 6-428,-1 4 1,-88 15-1,123-13 93,-685 109-3056,585-86 3095,-77 13 180,191-37 512,-254 32 1628,215-34-1525,-209 6 885,246-11-1116,0-1-1,1-3 1,0-1 0,0-1-1,-40-13 1,73 19-146,4 0-18,1 1 0,0-1 0,0 1 0,0-1 0,0 0 0,0 0 0,0 1 0,0-1 0,0-1 0,0 1 0,1 0 0,-1 0 0,-3-3-1,-4-5-71,9 9 35,0-1-1,0 1 1,-1 0-1,1-1 0,0 1 1,0-1-1,0 1 1,-1-1-1,1 1 0,0-1 1,0 1-1,0-1 1,0 1-1,0-1 0,0 1 1,0-1-1,0 1 1,1-1-1,-1 1 0,0-1 1,0 1-1,0-1 0,0 1 1,1-1-1,-1 1 1,1-1-1,7-9-100,-8 9 131,6-3-29,-1 0 0,0 0 0,1 0 0,0 0 0,0 1 0,1-1 0,6-1 0,7-5-16,53-24-40,123-43-1,88-10-80,-245 75 131,515-131-332,-7 1 1036,-491 127-669,79-9 0,-66 11 1695,-81 11-1566,1 0 1,-1 0-1,0 1 0,0 1 1,1 0-1,-21 2 0,-77 15-1091,63-9 1079,-921 197-1693,227-41 571,720-160 1003,-18 4-10,-466 84-188,443-84 352,-1-3 0,1-2 1,-1-2-1,0-3 0,-80-12 0,135 13-67,0 0 0,-1 0 0,-12-5-1,18 5-72,0 0 0,0 0 0,1 1 0,-1-1 0,1 0 1,-1 0-1,1-1 0,-1 1 0,1 0 0,0 0 0,-1-1 0,1 1 0,0 0 0,0-1 0,0 1 0,0-1 0,1 1 0,-2-3 0,4 0-318,40-37-109,85-62 0,-44 48 113,2 2-1,3 5 1,187-78 0,-152 79 485,1 5 0,3 5 0,156-27 0,48 0-593,-291 56 327,4-1 84,0 2 0,1 2-1,-1 2 1,63 2 0,-52 1 264,-37 0-254,-1 0 0,1 1 0,28 4-1,-35-3 62,4 1-137,-1 0 0,22 8 0,-34-10 101,1 0-1,-1-1 0,0 1 1,1 1-1,-1-1 0,0 0 1,0 0-1,0 1 0,0-1 0,0 1 1,0-1-1,-1 1 0,1 0 1,-1-1-1,1 1 0,-1 0 1,1 0-1,-1 0 0,0 0 1,0 0-1,-1 0 0,2 3 0,-2-4 9,0 0 0,0 0 0,0 1 0,-1-1 0,1 0 0,0 0 0,-1 0 0,1 0 0,-1 0 0,1 0 0,-1 0 0,0 0 0,1 0 0,-1 0 0,0 0 0,-1 2 0,-19 13 463,17-12-546,-23 14 187,-1-1-1,0-1 1,-1-1-1,-60 22 1,-137 32 50,225-68-212,-309 77-1232,77-18 526,-241 35-1,291-73 636,138-19 278,0-2 0,-47-3 0,72 0-173,0-1 0,1 0 0,0-1-1,-31-11 1,41 12-31,0-1 0,0 0 0,0 0 0,1 0 0,-1-1 0,1 0 0,1-1 0,-1 0 0,1 0 0,-11-12 0,15 15 2,1-1 0,0 1-1,0-1 1,0 1-1,1-1 1,-1 1-1,1-1 1,0 0-1,0 0 1,0 0-1,1 1 1,0-1-1,-1 0 1,2 0-1,-1 0 1,0 0 0,1 0-1,0 1 1,0-1-1,0 0 1,1 0-1,-1 1 1,1-1-1,0 1 1,0-1-1,0 1 1,4-4-1,6-8-14,1 1-1,1 0 0,1 0 0,21-14 0,-28 22-5,32-24-359,77-43-1,53-15-383,-144 75 653,167-73 52,-160 72 52,-17 6 1665,-35 15-1055,-132 62-611,18-7 117,-42 5-97,-239 62 0,384-122-331,-51 8-1,81-15 286,-1 0 0,1 0 0,0 0-1,0 1 1,0-1 0,-1 0-1,1 0 1,0 0 0,0 0-1,-1 0 1,1 0 0,0 0-1,0 0 1,0 0 0,-1 0-1,1 0 1,0 0 0,0-1-1,-1 1 1,1 0 0,0 0 0,0 0-1,0 0 1,-1 0 0,-1-3-455,2 3 454,0 0 1,0 0 0,0-1-1,0 1 1,0 0 0,0 0-1,0 0 1,0-1 0,0 1-1,0 0 1,0 0 0,0 0 0,0-1-1,0 1 1,1 0 0,-1 0-1,4-8-633,60-43-1100,94-55 2652,-170 103 765,6 2-1651,1 0 1,-1 0-1,0 1 0,0 0 1,0 0-1,0 0 0,-6 1 1,-46 9 16,32-5-15,-31 8-19,-75 26 1,100-28-4,-80 29-173,109-39 110,0 0-1,0 0 0,0 0 1,0 1-1,1-1 0,-1 1 1,0 0-1,1 0 1,-1 0-1,1 0 0,0 0 1,0 0-1,-3 4 1,5-6 46,0 1 1,0-1-1,0 1 1,0 0-1,0-1 1,0 1 0,0-1-1,0 1 1,0-1-1,0 1 1,0-1-1,0 1 1,0-1 0,0 1-1,1-1 1,-1 1-1,0-1 1,1 1-1,-1-1 1,0 0 0,1 1-1,-1-1 1,0 1-1,1-1 1,-1 0-1,1 1 1,-1-1 0,1 0-1,-1 1 1,1-1-1,-1 0 1,1 0-1,0 1 1,19 6-385,-1-4 327,0-1 1,0 0-1,1-1 0,-1-1 0,0-1 0,30-4 0,114-29 624,-58 11-125,242-51-1165,-73 16 372,-212 44 235,37-6 102,20-2-26,-74 12-331,68-6 1,-96 14 351,-13 1 169,1 0 0,0 1 0,-1-1 1,1 1-1,8 1 0,-12-1-87,-1 0 1,0 0-1,1 0 1,-1 0-1,1 1 1,-1-1-1,0 0 1,1 0-1,-1 1 1,1-1-1,-1 0 1,0 0-1,1 1 1,-1-1-1,0 0 1,0 1-1,1-1 1,-1 0-1,0 1 1,0-1-1,0 0 1,1 1-1,-1-1 1,0 0-1,0 1 1,0-1-1,0 1 1,0-1-1,0 0 1,0 1-1,0-1 1,0 1-1,0-1 1,0 0-1,0 1 1,0-1-1,0 1 1,0-1-1,-1 0 1,1 1-1,0-1 1,0 0-1,0 1 1,-1-1-1,1 0 1,0 1-1,0-1 1,-1 1-1,-16 17 493,-14 4-242,-1-2-1,-49 24 1,-86 29-429,111-50 222,-374 146-821,148-61-125,-95 24-35,290-99 781,-8 3-568,113-40-1764,89-31 2880,148-67 0,-100 36-22,-76 34-302,214-83 493,8 15 237,-179 64-367,119-31 673,-169 50-921,100-11 0,-19 2-26,-61 9 386,-92 17-549,1 0 0,0 0 0,-1 0-1,1 0 1,-1 0 0,1 0 0,-1 1-1,1-1 1,-1 0 0,1 0 0,0 0 0,-1 0-1,1 1 1,-1-1 0,1 0 0,-1 0-1,0 1 1,1-1 0,-1 0 0,1 1 0,-1-1-1,0 1 1,1-1 0,-1 0 0,0 1-1,1 0 1,-30 9 449,-75 23-259,-113 31-166,17-4 116,-574 192 213,625-200-273,-74 30-959,207-75 1112,0 1 0,1 0 0,1 1 0,-25 18-1,38-26-321,0-1 0,0 1 0,0 0-1,0 0 1,1 0 0,-1 0-1,0 0 1,0 0 0,1 0 0,-1 0-1,1 0 1,-1 0 0,1 0-1,0 0 1,-1 0 0,1 0-1,0 0 1,0 1 0,0-1 0,0 0-1,0 0 1,0 0 0,0 0-1,0 0 1,1 1 0,-1-1 0,0 0-1,1 0 1,-1 0 0,1 0-1,-1 0 1,1 0 0,0 0-1,-1 0 1,1 0 0,0 0 0,0-1-1,0 1 1,0 0 0,0 0-1,0-1 1,1 2 0,2 1 31,0-1 0,1 0 1,-1 1-1,1-1 0,-1-1 0,1 1 1,0 0-1,0-1 0,-1 0 1,7 1-1,10-1 87,-1 0 1,1-2-1,36-4 0,63-15 283,-64 9-125,51-13-200,156-54 0,-115 31-26,131-47-627,-191 63 670,94-42 3093,-192 70-3080,0 0 0,-1 1 0,1 0 0,0 0 0,-1 1 0,1 0 0,-20 1 0,-15 6-92,1 1-1,-78 22 0,43-9 10,-640 179-982,257-37 580,452-158 145,-1 1 1,1 0-1,0 0 0,1 1 0,-1 0 1,-12 11-1,21-16 255,1 0 1,0-1-1,0 1 1,0 0-1,0-1 1,0 1-1,0 0 1,0 0-1,0-1 1,1 1-1,-1-1 1,0 1-1,0 0 0,1-1 1,-1 1-1,0 0 1,1-1-1,-1 1 1,1-1-1,-1 1 1,1-1-1,0 1 1,1 2-156,1 0 101,0-1 0,-1 0 0,1 0-1,0 0 1,0 0 0,0 0 0,0 0 0,1-1 0,-1 1 0,0-1 0,1 0-1,-1 0 1,1 0 0,0 0 0,5 0 0,8 1 380,0-1 0,21-1 0,-28 0-113,70-3 552,0-4 1,84-17-1,-59 8-447,-78 12-221,450-78 836,-231 36-663,-235 44-188,-1 1 157,0-1 0,1 0-1,18-6 1,-29 8-182,0 0 0,0 0 0,1-1 0,-1 1 0,0 0 0,0 0-1,0 0 1,0 0 0,1 0 0,-1 0 0,0 0 0,0 0 0,0 0 0,0 0 0,0-1 0,1 1 0,-1 0 0,0 0 0,0 0 0,0 0 0,0 0 0,0 0 0,0-1-1,0 1 1,0 0 0,0 0 0,0 0 0,1 0 0,-1-1 0,0 1 0,0 0 0,0 0 0,0 0 0,0 0 0,0-1 0,-7-3 251,-11 1-360,-33 6-1457,-84 13 0,108-12 1060,-118 20-1064,-39 5 234,136-23 878,-65 9-1940,-27 12 760,-242 74 1,338-87 2333,12-5 412,1 2 0,-50 24 1,80-34-1079,0-1 0,1 0 0,-1 1-1,0-1 1,1 0 0,-1 1 0,0-1 0,1 0 0,-1 1 0,1-1 0,-1 1 0,1-1 0,-1 1 0,1-1 0,0 1 0,-1 0 0,1-1 0,0 1-1,-1-1 1,1 1 0,0 0 0,0-1 0,0 1 0,-1 0 0,1-1 0,0 1 0,0 0 0,0-1 0,0 1 0,1 1 0,-1-1-22,1 0 1,0 1 0,0-1 0,0 0-1,0 1 1,1-1 0,-1 0 0,0 0 0,0 0-1,1 0 1,-1 0 0,3 1 0,5 2 306,0 0 1,1 0-1,14 4 1,-4-4 172,0 0 0,1-1 0,29 1 0,65-3 506,-77-2-805,250-15 1368,-46 2-1045,26 18-524,-132 0 6,175 1 38,275 7-20,-325 11-515,-217-20 400,2-2-1,-1-1 0,47-6 1,41-1 470,-57 8-580,-79-1 270,-1 0 0,1 1 0,0-1 1,0 1-1,0 0 0,-4 1 1,-18 4 371,-179 13-206,-340 25-786,352-30 181,71-3-354,-179-5 1,137-12 141,-103-7 1091,202 7-1,-107-23 1,149 24-373,1-1 1,0-1 0,0-1 0,0 0 0,1-1-1,1-1 1,0-1 0,1 0 0,0-1 0,1-1-1,0-1 1,1 0 0,-23-27 0,36 37-93,0 0 0,0 0-1,1 0 1,0-1 0,0 1 0,-2-9 0,14 13-1041,1 2 754,0-1 0,-1 2-1,1-1 1,-1 1 0,1 1-1,13 6 1,12 3 41,168 71 25,-9-3 402,-120-55-215,261 83 44,-220-82 335,1-4-1,178 14 0,241-24 820,-160-36-875,-160 7 187,-14-6-399,-64 6-391,208-31 194,-328 44 62,1 0 0,33-1 0,-47 4 119,-5-1-31,-12 0-50,-54 7-116,0-3 1,-71-4 0,33-1 21,-48 1-837,-192 4-893,-170 1 913,300-13 829,76 5 415,-154-23 0,67-13-371,218 39 60,-206-49 832,59 16-1041,75 19 137,59 12-1900,56 16-739,41 16 3593,1-3 1,128 26-1,168 31-230,-342-75-668,330 66 469,-257-54-278,223 26 523,3-22-422,-300-22-326,436 9 68,0-24-370,-193 5-140,-176 3-905,184-30-1,-43-20 4647,-239 55-3258,-13 0 434,-392 76-7059,338-64 5187,-37 8-3464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62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92 7712,'0'0'0,"0"0"0,8-4 0,2-2 576,0 1-576,5-4 584,11-9-584,0-1 152,-4 3-152,7-6 160,14-12-160,0 0 1200,-8 5-1200,11-9 1200,22-20-1200,0 1 288,-12 10-288,8-7 296,18-14-296,-5 6 8,-16 12-8,3-1 16,11-6-16,-8 7-2208,-16 12 2208,1 1-2208,4 1 2208,23-11-4800,-2 2 1824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7.8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829 9240,'0'0'0,"3"-3"0,7-6 0,2-1 960,-1 0-960,5-4 968,12-8-968,1-1 400,-5 4-400,6-5 400,13-9-400,-1 0 448,-8 7-448,7-6 448,13-10-448,-2 2-64,-10 8 64,9-8-64,21-18 64,-3 2-264,-13 9 264,5-1-256,10-7 256,32-23-8624,-2 3 5032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12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795 9688,'0'0'0,"3"-3"0,7-4 0,2-1 472,-1 1-472,6-5 480,12-7-480,13-11 72,11-7-72,9-8 72,4-7-72,3-4-528,1-5 528,0-1-528,-1 1 528,-13 10 280,-16 14-280,-2 3 280,4-2-280,-4 5-3248,-9 7 3248,2 1-3248,6-3 3248,20-11-1552,-1 2-688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8.317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287 10400,'0'0'0,"4"-5"0,11-9 0,11-10 464,12-10-464,10-8 464,9-6-464,15-14-8136,-3 5 4944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279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0 946 9144,'0'0'0,"4"-3"0,6-6 0,2-2-8,-2 1 8,6-4 0,10-11 0,0 0 1184,-4 4-1184,7-6 1192,15-10-1192,1 1 480,-9 6-480,13-8 480,24-18-480,0 1 256,-12 9-256,7-6 256,19-14-256,-7 5-1320,-16 12 1320,3-1-1320,11-9 1320,36-24-6952,-2 1 356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19.576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1 594 9144,'0'0'0,"2"-1"0,3-2 0,4 0 1272,4-1-1272,4-3 1272,4-2-1272,5-3 680,4-4-680,6-5 688,5-4-688,4-4 440,5-4-440,3-5 448,4-4-448,1-6-1928,2-5 1928,2-3-1920,2-3 1920,14-11-6616,-7 6 3136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5.64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80 7800,'0'0'0,"2"0"0,5-2 0,6-1 1352,5-1-1352,4 0 1352,0-1-1352,1 0 208,1-2-208,2-2 208,6-3-208,4-5-840,4-4 840,5-3-840,3-3 840,3-1 904,2-2-904,2 0 912,0 0-912,2 0 416,-1 0-416,-2 3 424,-7 3-424,-7 3 0,-5 3 0,-2 1 8,1 1-8,9-4-8456,-3 1 5008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02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16 8520,'0'0'0,"4"-3"0,7-6 0,8-6 1784,8-5-1784,5-3 1784,7-1-1784,4 0 896,3 0-896,2 1 904,-2 1-904,0 0 264,-2 0-264,1-1 272,1-2-272,1 0-760,4-2 760,-1 3-760,-4 2 760,1 1-9008,-7 4 5112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6.41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50 8608,'0'0'0,"1"-2"0,3-5 0,3-3 360,0 0-360,2 1 368,1 1-368,4 2 1360,5 2-1360,5-1 1360,5-3-1360,5-4 536,6-5-536,4-6 544,7-5-544,4-5 344,5-4-344,2-2 344,3-2-344,1 2 0,1 1 0,-4 4 0,-9 4 0,-8 4-704,-7 5 704,-8 3-704,-5 2 704,-1 0-8656,-4 3 4896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37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09 9592,'0'0'0,"3"1"0,3 2 0,4 1-608,1 0 608,-1 1-608,-3-2 608,-3 0 440,-1-2-440,-2 0 440,0-1-440,-2 0 1064,1 0-1064,2-1 1072,4-4-1072,7-3 824,10-3-824,7-2 824,5-3-824,4-2 48,4-4-48,4-4 56,5-3-56,4-3 40,5-2-40,3 0 48,2 0-48,0 0 560,2 2-560,-2 2 568,-3 2-568,-3 3-2568,-5 2 2568,-5 2-2560,-3 2 2560,3-1-5808,-6 2 2384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3.786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123 242 9416,'-121'-20'3658,"119"20"-3572,46 13-474,54 8 778,-19-5 213,-10 0-332,62 15 448,184 22 0,-221-45-465,1-4-1,-1-3 0,98-11 0,-66-3-322,198-44 0,-180 18 43,17-3 510,-160 42-475,-1 0 0,1 0 0,-1 0 0,1 0-1,-1-1 1,1 1 0,-1 0 0,1 0 0,-1 0-1,1-1 1,-1 1 0,1 0 0,-1 0 0,1-1-1,-1 1 1,1 0 0,-1-1 0,1 1 0,-1 0-1,0-1 1,1 1 0,-1-1 0,1 0 0,-1 1-9,0-1 1,-1 1 0,1-1-1,0 1 1,0 0 0,0-1 0,-1 1-1,1-1 1,0 1 0,0 0-1,-1-1 1,1 1 0,0 0 0,-1-1-1,1 1 1,0 0 0,-1-1-1,1 1 1,-1 0 0,0-1-1,-25-9-284,13 8 200,0 0 1,0 1-1,0 0 1,-1 1-1,1 0 1,-25 4-1,-79 19-331,98-18 330,-43 10-171,0 2-1,-88 36 0,80-24-1138,-94 26 0,-26-8-3865,113-36 2880,-39-6 5024,86-3 1401,47-1-2580,25-1-429,1-1 0,-1-3 0,46-7 0,84-6-738,-70 9-183,190-32 252,-93-1-348,312-58 10,-77 11-45,-280 55-236,-62 15 454,-44 10 114,-1-2 1,70-23 0,-81 18 239,-34 15-320,3-2-88,-4 2-145,-1 0-1,0 0 1,0 0 0,1 0-1,-1 0 1,0 0 0,1 0-1,-1 0 1,0-1 0,1 1-1,-1 0 1,0 0 0,0 0-1,1 0 1,-1 0 0,0 0-1,1 0 1,-1-1 0,0 1-1,0 0 1,0 0 0,1 0-1,-1 0 1,0-1 0,0 1-1,0 0 1,1 0 0,-1-1-1,0 1 1,0 0 0,0-2-53,0 1 0,0 0 0,0 0 0,0 0 0,0 0 0,-1 0 0,1 0 0,0 0 0,-1 0 0,1 0 0,-1 0 0,1 0 0,-1 0 0,0 0 0,1 0 0,-1 0 0,0 0 0,0 1 0,0-1 0,0 0 0,0 0 0,0 1 0,0-1 0,0 1 0,0-1 0,0 0 0,0 1 0,0 0 0,0-1 0,0 1 0,-1 0 0,1-1 0,0 1 0,-3 0 0,-3 0-106,-1-1-1,0 1 1,0 1-1,-12 1 1,9 0-60,-252 34-5701,160-16-843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6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039 9328,'0'0'0,"4"-2"0,7-4 0,8-3 1376,6-3-1376,5-4 1384,5-4-1384,5-4 488,7-5-488,5-4 496,5-5-496,-7 5 864,-12 7-864,3 0 864,13-8-864,18-11 160,21-11-160,15-10 160,9-5-160,3 0-40,-3 2 40,-5 3-40,-10 6 40,-11 7-1936,-14 7 1936,-11 8-1936,-11 6 1936,2 0-7416,-11 6 3664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7.87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01 8696,'0'0'0,"3"-2"0,7-4 0,8-4 1360,8-4-1360,7-3 1360,6-3-1360,6-2 856,4-3-856,5-1 864,5-3-864,4-3 256,4-4-256,4-2 264,1-2-264,3-2-216,2 0 216,1-1-216,0 1 216,-4 2-4208,-4 2 4208,-6 2-4200,-4 2 4200,4-2-2088,-9 5-64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12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98 8792,'0'0'0,"4"-2"0,5-2 0,7-3 1320,3-2-1320,4-2 1320,4-2-1320,3-3 808,5-1-808,5-3 816,5-2-816,6-2 384,6-1-384,4-1 384,3-5-384,1-2 360,0-4-360,0-2 368,-1-1-368,-2 0-1624,-1 1 1624,-1 2-1624,-3 2 1624,8-3-7592,-8 6 388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34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69 10040,'0'0'0,"4"-3"0,7-4 0,5-3 1320,5-3-1320,3-2 1328,5-2-1328,4-2 912,6-3-912,6-2 920,5-2-920,5-2-56,4-1 56,4-1-48,1-1 48,2-1-1032,0 0 1032,-2 0-1024,-1 1 1024,7-5-8536,-8 4 4712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60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1 10040,'0'0'0,"2"-1"0,3-2 0,6-3 920,5 0-920,6-3 920,4 0-920,4-2 0,6-1 0,3-1 8,4-2-8,10-3-8440,-3 1 4992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8.9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471 9592,'0'0'0,"0"0"0,2-1 0,3-3 872,6-1-872,6-3 872,6-5-872,5-4 664,7-6-664,4-4 664,4-4-664,3-2 360,6-2-360,2-2 368,3-1-368,-9 5-1648,-12 9 1648,-1 0-1648,5-5 1648,19-15-6680,-1 0 3264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51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871 10760,'0'0'0,"3"-1"0,5-2 0,3-1 408,3-3-408,2-2 416,3-3-416,4-2 1296,6-3-1296,5-3 1296,5-5-1296,5-3 464,3-5-464,4-4 464,1-4-464,2-4-104,2-3 104,2-2-96,0 0 96,0 0-208,-2 1 208,-2 2-200,-2 4 200,-4 3 264,-2 4-264,-6 5 272,-6 6-272,-6 6-688,-7 4 688,-4 3-680,-2 1 680,-2 1-4328,-1 0 4328,-3 1-4320,-2 2 4320,1 0-2208,-1 1-60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29.87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918 8072,'0'0'0,"4"0"0,5-1 0,5-1 528,2-3-528,0-3 528,2-4-528,1-2 0,4-4 0,3-3 0,6-3 0,4-3 776,4-2-776,3-2 776,4 0-776,2 0 208,2-2-208,1-2 208,1-2-208,1-3 104,1-1-104,0-3 112,0-1-112,-1-2 456,0 0-456,-4 2 456,-4 3-456,-3 5 312,-3 4-312,-2 4 312,-5 4-312,-5 4-800,-2 3 800,-5 3-800,-5 4 800,-2 1-7760,-5 2 4272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17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879 10224,'0'0'0,"4"-3"0,7-5 0,8-7-80,9-5 80,6-4-72,6-2 72,2-1 592,3-3-592,2-3 600,3-3-600,2-2-400,2-1 400,2-2-400,1 0 400,2-1 528,2 0-528,0-1 528,-2 0-528,-2 0 344,-4 1-344,-3 1 352,-5 3-352,-3 3-912,-2 3 912,-3 3-912,-7 5 912,-1 0-7088,-5 5 3784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486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17 9952,'0'0'0,"3"-3"0,5-5 0,6-7 552,7-6-552,6-4 552,6-4-552,5-3 1056,7-3-1056,5-1 1064,4-3-1064,3-2 288,2-1-288,0-1 288,1-2-288,-1-2-384,0-1 384,-1 0-384,1-1 384,0 2 240,0 2-240,-2 2 240,-1 3-240,-3 2 80,-2 1-80,-5 3 80,-7 4-80,-5 2-608,-4 3 608,-5 2-600,-5 2 600,-3 1-3832,-2 2 3832,-3 0-3832,-3 3 3832,-2-1-2128,-3 3-496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4:56.381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3082 1302 8968,'-48'15'4288,"64"-13"-2694,2-1-1203,1-1 0,-1-1 0,0 0 0,33-7-1,71-23-168,-100 25-95,340-88 226,-258 64-299,122-51 0,91-59 186,-237 105-7,86-27 1,-154 57 117,1 0 1,-2 0-1,1-1 1,19-14 0,-18 12-506,-12 7 62,-9 1 25,-1 0 0,1 0-1,-1 1 1,1 0 0,-16 4 0,3 1-168,1 1 0,0 1-1,0 0 1,-35 21 0,38-20 116,0 0 0,-1-2 0,-31 11 0,68-28 541,-1-1 0,27-20 0,-9 6 123,99-78-121,-107 79-259,-16 16 120,-1-2 0,-1 1 0,0-1 0,-1-1 0,0 0 0,9-13 0,-18 23-417,-52-5-1680,32 7 1562,1 1 1,-28 5 0,39-5 151,0 0 0,0 0 0,0 1 0,0 0 0,1 1 0,-1-1 0,1 1 0,-9 7 0,9-6 90,5-3-101,0 0-1,-1 0 1,1 0-1,-1 0 1,0-1-1,0 1 1,0-1-1,0 1 1,0-1-1,0 0 1,-12 2 2131,18-13-880,0-3-906,1 0-54,-1 0 0,0 0 0,-2-1 0,1-14 0,-3 22-171,0 1 1,-1-1 0,0 0 0,0 0-1,-1 1 1,1-1 0,-1 1 0,-1 0-1,1 0 1,-1 0 0,-6-6 0,0-2-35,5 8 20,0 0-1,-1 1 0,0 0 0,0-1 1,0 2-1,0-1 0,-1 1 0,0 0 1,1 0-1,-1 0 0,-10-2 0,-4-2 1,-5-2-30,0 1-1,-53-10 1,-55 0-172,75 12 112,-73-17-1,-54-13-51,141 30 101,-1 1 1,0 2-1,-48 2 0,33 0-266,-376-15-1010,398 11 1445,0-1 0,1-1 0,0-2 0,-47-17 0,-56-14 0,-72-5-362,74 26 227,76 13-57,-158-16-866,-84-11-680,-85-13 708,276 41 614,-135 9 0,21 0 1413,-43-7-567,177 0-379,-16 0 324,68 2-194,34 0-335,0 0 0,-1 1 0,1 0 0,0 0 0,-1 1 0,1 0 0,0 0 0,0 1 0,0 0 0,-10 3-1,15-4-65,1 0-1,0 0 0,0 1 0,-1-1 0,1 0 1,0 1-1,0-1 0,0 1 0,1-1 0,-1 1 1,0 0-1,1-1 0,-3 5 0,3-4 38,1 0 0,-1 0 0,1 0 0,0-1 0,0 1-1,0 0 1,0 0 0,1 0 0,-1 0 0,0 0 0,1 0 0,0 0 0,-1-1 0,1 1-1,0 0 1,2 2 0,34 78-834,-34-73 828,1 0 1,-2 0-1,1 1 0,-2-1 0,1 1 0,-1 17 1301,-4-27-1015,3 0-185,-16 10 172,146-38 152,-3-3 15,171-22 1,-179 37-210,198-16-186,84 19 116,-203 18 303,-42 1-213,264 8-203,-299-5-99,55 3 10,118 2 222,-254-11-43,267 23 134,-194-9-166,-74-10-34,47 3 0,-36-5-130,86 18-1,-53-7-229,-44-7 322,0 1 1,-1 2-1,40 17 0,-30-7 102,-32-14-70,0-1-1,28 9 0,-28-11-101,-1 1-1,0 1 0,-1 0 0,0 0 1,0 2-1,23 16 0,-35-23 23,1 1 0,-1-1 0,0 1 0,0-1 0,0 1 0,0 0 0,0-1 0,0 1 0,-1 0 0,0 0 0,0 0 0,0 0 0,0 0 0,1 6 0,-2-8 34,6 26 2783,-24-51-2657,-37-59 815,41 49-234,14 33-646,12-2-1213,5 0 940,3 6 200,0 1 1,0 1-1,0 1 1,-1 0-1,34 15 0,-29-11 11,13 6-115,-2 0 0,0 3 0,61 41 0,-60-32 172,21 14 91,-38-23 436,-10-14-337,-9-5-200,0 0 0,0 0 0,0 0 0,0 1-1,0-1 1,0 0 0,0 0 0,0 0 0,0 0 0,0 0-1,0 0 1,0 0 0,0 0 0,0 1 0,0-1 0,0 0 0,0 0-1,0 0 1,0 0 0,0 0 0,0 0 0,0 0 0,0 0-1,-1 1 1,1-1 0,0 0 0,0 0 0,0 0 0,0 0 0,0 0-1,0 0 1,0 0 0,0 0 0,-1 0 0,1 0 0,0 0-1,0 0 1,0 0 0,0 0 0,0 0 0,0 0 0,0 0 0,-1 0-1,1 0 1,0 0 0,0 0 0,0 0 0,0 0 0,0 0-1,0 0 1,-1 0 0,1 0 0,0 0 0,0 0 0,0 0-1,-27-2-216,26 2 207,0-1 0,0 1 0,0-1 0,0 1 0,0-1 0,0 1 0,0-1 0,0 0 0,1 1 0,-1-1 0,0 0 0,1 0 0,-1 1 0,0-1 0,1 0 0,-1 0 0,1 0 0,-1 0 0,0-1 0,-7-23-317,6 22 237,2-2 10,-1 0 0,0 0-1,1 0 1,0 0 0,1 1-1,-1-1 1,1 0 0,0 0-1,0 0 1,1 1 0,0-1-1,4-8 1,-4 8-51,-1 3 337,21 4-158,-18-1-90,-1 0 0,1 0 0,-1 1 0,1-1 0,-1 1 0,1-1 0,-1 1 0,0 0 0,0 0 1,0 0-1,0 1 0,4 3 0,3 5-506,17 22 1,-21-24-100,0-1 1,1 1 0,0-1-1,31 25 5961,-51-45-4554,-35-28 855,43 36-1567,-1 1-1,1-1 0,-1 1 0,1 0 0,-1 0 1,0 1-1,-13-4 0,15 5-37,2 0-16,-1 1 0,1-1 0,0 1 0,0-1 0,-1 1 0,1 0 0,0-1 0,-1 1 0,1 0 0,0 1 0,0-1 1,-1 0-1,1 0 0,0 1 0,0-1 0,-1 1 0,1 0 0,0 0 0,0 0 0,0-1 0,-3 3 0,-64 52-548,46-35 431,-31 20 0,-174 100-726,112-73 57,-12 9-1047,110-65 1666,-1-2 0,0 0 0,-1-1 0,0-1 0,-29 8 0,-6 2-317,-103 23-1250,118-32 1264,-15 3-914,-1-2 0,-86 4 0,70-8-3110,-25 10 3686,26-3 384,-159 13-781,132-17 902,-2 1-14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0.75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1241 11928,'0'0'0,"3"-3"0,7-5 0,5-5 1024,2-4-1024,4-5 1032,3-4-1032,5-4 584,7-5-584,6-5 592,9-1-592,7-3 520,8-2-520,5-2 520,5-1-520,2-3 24,-1-3-24,3-3 32,4-7-32,4-5 32,1-1-32,-2 3 32,-8 6-32,-10 7-496,-10 7 496,-10 6-496,-7 4 496,-5 6-2048,-5 3 2048,-6 5-2040,-5 5 2040,-3 2-7440,-4 3 364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1125 11208,'0'0'0,"3"-1"0,5-3 0,5-2 280,1-4-280,1-3 280,3-6-280,-2 1 392,-4 3-392,4-3 400,11-8-400,12-8 64,13-9-64,9-8 64,9-4-64,5-3-8,3-4 8,5-3-8,6-5 8,-11 10 24,-20 15-24,0 1 24,9-9-24,9-7-3240,3-5 3240,-3 1-3240,-7 6 3240,-2-1-3392,-11 11 544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221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766 11296,'0'0'0,"2"-3"0,4-5 0,5-6 472,5-4-472,6-6 472,5-4-472,5-5 656,7-4-656,6-4 664,8-2-664,7-2-336,7-1 336,7 0-328,4-3 328,2 0-3488,0-3 3488,-2-1-3488,-3-1 3488,11-10-3088,-11 5 256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47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954 8344,'0'0'0,"2"-4"0,5-7 0,5-7 1272,5-4-1272,6-5 1272,7-3-1272,5-4 464,8-2-464,6-3 472,8 0-472,6-1 256,5 1-256,4 0 256,4-2-256,3-1 184,3-2-184,7-4 192,9-3-192,9-5-4064,7-1 4064,1-2-4056,-1 2 4056,15-7-1952,-14 8-688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1.78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383 8792,'0'0'0,"4"-2"0,8-6 0,4-3 424,2 0-424,-1 1 424,-2 2-424,-3 3 840,-1 5-840,2 1 848,3 2-848,6-1 112,7-5-112,7-3 120,6-6-120,6-5 120,6-5-120,4-2 128,2-3-128,3-1-8,0 1 8,-2 1-8,-3 1 8,-4 2-904,-3 1 904,-3 2-904,-6 2 904,0 0-6784,-7 2 3584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002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606 12640,'0'0'0,"4"-2"0,7-5 0,9-4 1416,9-5-1416,9-6 1424,9-4-1424,8-4 64,7-4-64,6-1 64,5-2-64,4-2-552,2-1 552,1 0-544,-1-1 544,0 0-2088,-2 2 2088,-2 0-2080,-3 4 2080,8-3-6760,-9 4 3176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64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35 10136,'0'0'0,"3"-1"0,8-4 0,7-3 968,8-4-968,7-3 976,8-3-976,5-2 576,7 0-576,4-2 584,3-3-584,1-2 448,-1-1-448,0-1 448,0-1-448,-3-1-2768,-1 1 2768,-2 0-2760,-3 3 2760,5-3-5288,-6 4 1968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2.879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501 10936,'0'0'0,"3"0"0,6-2 0,5-1 832,3-3-832,3-3 840,4-3-840,4-4 408,5-3-408,6-3 416,5-4-416,6-1 448,4-3-448,5 0 456,3-3-456,1 0-96,-1-1 96,-1 1-96,-4 1 96,-2 3-1296,-3 3 1296,-5 3-1288,-6 3 1288,0 1-7872,-7 2 4184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08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82 9144,'0'0'0,"5"-3"0,7-6 0,6-3 912,2 1-912,2 1 912,0 2-912,1-1 560,2 0-560,4-1 568,6-4-568,5-4 744,8-5-744,6-2 744,6-3-744,4-3-496,2-1 496,1-2-488,0 0 488,-11 5-3968,-15 7 3968,-2 2-3960,6-3 3960,21-11-2040,-1 1-592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630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99 9952,'0'0'0,"4"-3"0,7-6 0,9-6 1088,8-8-1088,7-5 1088,4-3-1088,4-4 368,3-1-368,3 1 376,4 0-376,-9 6 728,-10 9-728,0 1 728,7-1-728,9-3-2184,7-4 2184,4-1-2184,0 1 2184,7-2-6448,-7 3 2936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5T06:55:04.658"/>
    </inkml:context>
    <inkml:brush xml:id="br0">
      <inkml:brushProperty name="width" value="0.35" units="cm"/>
      <inkml:brushProperty name="height" value="0.35" units="cm"/>
      <inkml:brushProperty name="color" value="#33CCFF"/>
    </inkml:brush>
  </inkml:definitions>
  <inkml:trace contextRef="#ctx0" brushRef="#br0">5458 1007 992,'-454'94'833,"337"-78"2083,-228 5 0,155-30 141,-82-9-534,-120-14 134,355 30-2483,1 1-1,-1 1 0,-65 9 0,-18 6 693,-10-9 980,108-6-1656,-1 0-1,1-1 1,-30-6 0,-7 1 501,3-5-711,-74-4 108,-62 7 154,16-8-141,79 6-100,-148-21 385,140 20-409,-75-6-1203,61 5 926,32 2 1503,103 12-2211,1 1 0,21 5 0,80 30 829,-36-11 138,189 38 394,4-19-29,-20-4-175,-4 11-345,-122-27 3,-67-12 506,102 11-1,102-23-1412,-125-5 623,-48 1 482,1-4 1,126-22-1,-34-10-367,6-2 41,-145 33-150,70-5 0,-96 12 428,1 0 1,-1 1-1,0 1 0,1 1 1,35 9-1,-36-8 9,-18-4 25,0 1 1,1-1-1,-1 1 1,0 0-1,0 0 1,0 0-1,0 0 1,0 1-1,8 9 1963,-22-12-2072,-72 0 251,-58 0-150,14 9-1290,1 5 0,-162 35 0,271-44 1236,-229 41-605,227-43 742,-29 3 501,45-4-318,0-1 0,0 0 1,-1 0-1,1-1 0,0 1 0,0-1 1,0 1-1,0-1 0,0 0 1,0 0-1,-5-2 569,10 2-698,22-7-36,1 1 0,0 1 0,39-4 0,3-2 66,895-124-581,-685 116 320,-25 2-551,-179 11 511,278-33-207,-73 3 572,-176 24-94,-37 6-51,105-17 196,-97 13 542,-30 5-19,69-18-1,-93 17-1114,-16 6 254,1 0 1,-1-1 0,1 1-1,-1 0 1,1 1-1,-1-1 1,7 0-1,-22-11-2019,8 11 2000,1 1 0,0-1 0,-1 0 0,1 1 0,0 0 0,-1 0 0,-5 0 0,-41 4-302,24-1 233,-321 26-1335,200-16-1258,-170 14-865,104-10 5606,159-12-1103,-39 1 1242,68-10 303,28 3-2022,33-3 96,-1-2-1,43-11 1,-37 7-329,277-62 731,-48 9-747,-36 8-28,5-10 307,-54 14 105,-136 37-309,-1-2 1,0-2-1,-1-2 0,53-30 1,-60 25 632,-40 24-812,0 0 0,0 0 0,0 0 0,0 0 0,1 0 0,-1 1 0,0-1 0,1 0 0,-1 0 0,0 0 0,1 0 0,-1 1 0,2-2 0,-2 1-46,1 0 0,-1 1-1,1-1 1,-1 0 0,1 1 0,-1-1 0,0 0 0,1 1 0,-1-1 0,0 0 0,0 0 0,0 1 0,0-1 0,1 0 0,-1 0 0,0 1 0,-1-1 0,1 0 0,0 0 0,0 1 0,-1-3 0,1 2-9,-1-1-1,1 0 1,-1 0-1,0 1 1,0-1-1,0 0 1,0 1-1,0-1 1,0 1-1,0-1 1,0 1-1,-1-1 1,1 1-1,-1 0 1,1 0-1,-1-1 1,0 1-1,0 0 1,1 0 0,-1 0-1,0 1 1,0-1-1,0 0 1,0 1-1,0-1 1,-3 0-1,-4 1-19,1 0-1,-1 0 1,1 0-1,0 1 1,-13 2-1,-8 1-64,-102-1-1145,89-4 808,37 2 378,1-1 1,-1 1-1,1 0 1,0 0-1,0 0 1,-1 0-1,1 1 0,0 0 1,-4 2-1,2-1-40,9-4-422,0 0 538,0 0 0,-1 1 0,1 0 0,-1-1 0,1 1 0,3 0 0,-3 0-12,22-3 138,18-2-35,-43 5-80,0 0-1,1 1 1,-1-1-1,0 0 1,1 0-1,-1 0 1,0 0-1,1-1 1,-1 1 0,0 0-1,1 0 1,-1 0-1,0 0 1,1 0-1,-1 0 1,2-2 373,-1 2-373,-1 0-1,0-1 1,0 1 0,0 0-1,0 0 1,1-1-1,-1 1 1,0 0-1,0 0 1,0-1-1,0 1 1,0 0-1,0-1 1,-6-14 211,-17-11-417,13 18 127,0 0 1,-1 1-1,-1 0 0,1 0 1,-1 2-1,0-1 1,0 1-1,-1 0 0,0 1 1,0 1-1,-19-4 1,-14 1-345,-92-3 1,137 9 380,-50 1-227,0 1 0,0 2 1,0 3-1,1 1 0,0 2 1,-70 23-1,67-17-359,-82 15 0,44-15 365,65-13 271,-10 3-508,55-3-301,224-35 1405,-190 21-703,0-1 0,50-19 0,-72 21 834,35-13 2750,-80 0-2558,7 17-948,0 0-1,-1 1 1,1-1 0,-1 1-1,-1 1 1,1-1-1,-1 1 1,0 1 0,0-1-1,0 1 1,-13-2 0,0 1-134,1 0 0,-1 2 0,-40-1 0,61 3 75,0 0 1,0 0-1,0 1 1,0-1-1,0 0 0,0 0 1,0 1-1,1-1 1,-1 0-1,0 1 0,0-1 1,0 0-1,1 1 1,-1-1-1,0 1 0,1 0 1,-2 0-1,-4 3-418,17 5-3,-3-5 394,0 1-1,0-2 0,1 1 1,-1-1-1,1 0 1,16 3-1,58 7-12,-64-10 55,219 31 103,-159-23-131,13 2 340,100 2 0,-32-22-476,-18 1 64,-112 5 1494,-97-24-1988,4-1 202,-113-30 0,161 53 414,0 1-1,-1 0 0,0 0 0,0 1 0,1 1 0,-1 1 0,-26 3 0,14 1-108,0 1-1,0 1 0,-33 13 0,-131 42-336,145-51 133,-54 7 0,36-7-111,-47 8-1538,-220 11 1,53-20 1755,250-10 515,0-2 0,-49-8 0,-56-19 334,70 14 51,-210-60 1124,-34-7-851,161 54-938,-79-17 362,95 19-169,-143-12 0,156 23-196,62 6 140,0 2 0,-80 1-1,-190 36 834,234-18-756,-41 9 69,-202 58 1,304-72-373,0-1 1,-64 6-1,79-12 270,47-6-1511,-13 3 1435,20-6-137,38-14 0,-5 1-5,98-18-141,3 6 0,178-13-1,-135 31 203,-6 1 71,127-8 136,-198 16-214,93-1-182,-175 11 43,0 2-1,93 19 1,109 20 57,-58-12-49,9 22-175,-157-36 265,-2 3 0,91 49 0,-116-58-7,0-2-1,1 0 0,37 9 1,-12-4-3,-21-7-84,1-1 1,0-1-1,0-1 1,38 1-1,-18-1 1097,-60-4-961,4-1-28,3 0 182,-10-11 213,-22-23 0,24 22-373,-1 1 1,-1 0-1,-17-13 1,13 14-8,0 1 1,0 1 0,-1 0-1,0 1 1,-35-9-1,-94-15 323,103 29-979,56 5-1241,12 1 1561,35 3-1,-6-2-91,-47-4 329,34 4-55,0 1 0,-1 2 0,51 16 0,-87-22 284,0-1 0,1 1-1,-1 0 1,0-1 0,0 2-1,-1-1 1,1 0 0,0 1-1,-1 0 1,0-1 0,5 6-1,-25-6-3,-2-3-271,1-1-1,-1-1 0,1-1 1,0 0-1,1-1 1,-25-10-1,-39-10 62,-2 9 44,0 3 0,-100-5 0,85 7-25,-35-1 5,86 12-53,1 2-1,0 1 0,-91 19 1,59-7-121,-47 11-156,98-17 374,0 0-1,1 2 0,0 0 0,1 2 0,1 1 0,0 0 1,-22 18-1,31-23-24,-1 0 1,0-2 0,0 0-1,-1 0 1,0-2 0,-20 5-1,-13 5-46,-17 4 54,-1-3 0,-93 12 0,-5-8-12,-9 2 355,74-8 16,36-6-218,0 3 0,-99 27-1,151-34-744,0 0 0,-26 4 0,55-11 661,0 0-1,20-8 0,0 1-113,82-24-40,-62 17 289,79-15 0,14 6 375,442-57 354,-282 63-1061,-41 17 60,-153 4 215,-96-1-112,190 3 58,-163-3-60,84-10-1,22 0 205,-99 8 959,-77 2-2156,1 0 628,-1 0 1,1 2-1,-30 4 1,3 3 92,26-6 40,-1 2 1,1 0-1,-42 15 0,7 2 83,-87 19-1,-12 3 506,67-11-376,-60 18-22,-273 82-741,144-52-31,164-62 481,38-7 204,17-1 58,-1-2 0,-116 3 0,149-13 488,-1 0-1,0-2 0,-38-7 0,65 9-387,0 0-1,0 0 1,0-1-1,0 1 1,0 0-1,1-1 1,-1 0-1,-3-2 1,5 3-17,19-14-1305,-6 8 1284,0 1-1,1 0 1,0 1-1,1 0 0,20-5 1,74-10 12,-63 13-73,5 1 38,86-2 0,-105 7-23,154-3-381,125-5 696,545-22 1821,-760 32-1905,16 0 223,149-15-1,80-42-21,-160 24-383,-82 18-12,75-16-24,96-22-1721,-257 50 1569,-1-1 0,1 0 0,-1 0 0,18-8 0,11-4 252,-33 16 506,-21 3-826,1-2 3,-1 1 0,1-1 0,0 2 1,-21 7-1,1 0-132,-43 13 647,-81 22-168,-89 15-665,46-8 551,-117 30 8,262-70 5,-196 39 43,-86 4 280,271-50-177,-101-1 1,110-8-243,-94-14 0,126 13 33,-69-11-324,0-4-1,-125-41 1,184 49 91,-42-7 1,83 29-1796,1-6 2050,0 0-1,0-1 1,0 0-1,1 0 0,0-1 1,0 1-1,0-2 1,0 1-1,16 2 0,11 1-392,41 1-1,-19-2 958,187 12 1493,-187-17-1332,18 1-584,426 6 761,-435-9-926,153-6 78,-79-5 204,-75 5-41,36-7 147,-69 9-197,2 1 0,47-1 1588,-99 21-640,-35 19-847,36-22-235,-29 14-1,4-5 21,0-2 0,-79 25-1,2-5 110,30-9 105,36-17-114,-93 14 1,52-11-120,50-8 12,6 0-209,-2-1 1,1-2-1,-42 1 0,75-6 178,0-1 0,0 1 0,0-1 0,1-1 0,-1 1 0,0-1 0,1 1 0,0-1 0,-1-1 0,1 1 0,0-1 0,0 0 0,0 0 0,-6-5 0,-6-6 178,2-1-1,-21-23 1,13 12 29,13 17-179,1 1 0,-1-1-1,-1 2 1,1-1-1,-2 1 1,1 1-1,-1 0 1,0 0-1,0 1 1,-1 0 0,-14-3-1,0-1-17,17 6 22,1 0 1,-1 1 0,-13-3 0,9 3-183,0 1-1,0 0 1,1 1 0,-1 0 0,0 0 0,-27 6-1,24-3 169,1-1 0,-34 1 0,29-3 2,-30 5-1,-99 11 240,100-15-110,49-1-138,-1 1-1,1 0 1,-1 0-1,1-1 1,0 1-1,0 0 1,-1 0-1,1 0 1,0 0-1,0 0 1,0 0 0,0 0-1,0 1 1,0 0-1,-13 22 100,12-20-129,1-1-16,0-1 0,0 1 1,0-1-1,0 0 0,1 1 1,-1-1-1,1 4 0,2-5 47,1 1-1,-1-1 1,1 0-1,-1 0 1,1-1 0,0 1-1,0 0 1,4 0-1,-5-1 5,40 8 100,-1-2 0,81 2 0,82-13 378,10 1-547,-166 7 6,-33-2 38,-1 0 0,0 0 0,1-1-1,-1-1 1,19-3 0,22-3-273,-1 2-1,71 0 1,-89 5 78,-10-1 161,28 0 2,-50 2 49,1-1-1,-1 1 0,0 0 1,0 0-1,0 0 0,-1 0 1,1 1-1,0-1 0,0 1 1,4 3-1,-7-5 11,-1 1 0,1-1-1,-1 1 1,1-1 0,-1 0 0,1 1 0,-1-1-1,0 1 1,1-1 0,-1 1 0,0-1 0,1 1-1,-1-1 1,0 1 0,0-1 0,0 1 0,0 0-1,1-1 1,-1 1 0,0-1 0,0 1-1,0-1 1,0 1 0,0 0 0,-1-1 0,1 1-1,0-1 1,0 1 0,0-1 0,0 1 0,-1-1-1,1 1 1,0-1 0,-1 1 0,1-1-1,0 1 1,-1-1 0,1 1 0,-1-1 0,0 1-1,-1 1 10,0 0 0,0 0-1,-1 0 1,1-1 0,-1 1-1,-4 1 1,-37 15-86,-75 18-1,-53 3-321,-15 5 345,79-14-113,-159 24 1,223-50 344,0-2 1,0-2-1,-59-7 1,16 2 297,48 1 54,-69-14 0,77 12-512,-1 0 0,1 2 0,-58-1 0,68 6-60,0 2-1,-23 5 1,-12 2-219,-89 15 57,83-13 241,48-8-23,-1-1 0,0 0 1,-22 1-1,-20-2 196,1-1 1,-103-13 0,96 5-214,-1 3 1,-83 3-1,75 1 31,-150-13 294,173 5-299,-72-20 0,84 18-146,32 9 55,-126-27-628,-100-11 796,162 29-4,1-3 0,-123-38 0,162 41-178,-1 1-1,0 2 1,-1 1 0,-36-4-1,-126 3-138,169 5 204,0 0 1,1-1-1,-27-7 1,10 3-4,-3 0 40,14 2 19,0 0 1,-55-17 0,71 16-21,-1-1 0,1 0 0,-18-13 0,16 10-12,-28-13-1,22 13 18,5 2-88,0 0 1,-1 2-1,0-1 0,-1 2 0,-29-7 1,12 9-87,-39 0 0,48 3-66,1-1-1,-1-1 1,-47-10-1,53 6 11,-36-17-1,47 19 323,5 3-63,-1-1-1,0 1 0,0 1 1,0-1-1,0 1 0,-9-1 1,2 2-63,-1 3 10,12-3-36,0 0 0,0 0 0,0 0 0,0 0 0,0 0 0,0 0-1,1 1 1,-1-1 0,0 0 0,1 0 0,-1 1 0,1-1-1,-1 0 1,1 0 0,0 1 0,-1-1 0,1 0 0,0 1 0,0-1-1,0 1 1,0-1 0,1 0 0,-1 1 0,1 1 0,-1 1-64,1 0 0,0-1 0,1 1 0,-1 0 0,1 0 0,-1 0 1,1-1-1,3 4 0,5 8-4,0 1 1,-2 0-1,10 25 0,-14-33 162,0 0-1,1 0 1,0-1-1,6 8 1,1 0-179,-11-14 98,0 1 0,1 0-1,-1-1 1,1 1 0,-1-1 0,1 0 0,0 0 0,-1 1 0,1-1-1,0 0 1,0 0 0,0 0 0,4 0 0,10 7-60,12 13 80,-19-13 31,1-1 0,13 8 1,117 71-625,-129-81 656,-1 0 1,1-1 0,0 1 0,0-2 0,1 1 0,-1-2 0,1 1-1,13 0 1,27 8-150,111 37-156,-40-3 265,-108-39-32,-6-3 7,0 0-1,-1 0 1,1-1 0,14 2-1,-8-2 55,27 8 0,-29-7-11,-1 0 1,1 0 0,20 1-1,-21-3-50,0 0-1,0 0 0,15 5 1,-22-5-71,1 0 0,-2 1 0,1 0 0,0 0 0,0 0 0,-1 0 0,1 1 0,-1-1 0,6 5 0,-7-5 56,0 0 0,0 0-1,0-1 1,0 1-1,0-1 1,1 0 0,-1 0-1,0 0 1,5 0 0,12 5-241,-4 0 393,0-2 1,0 1-1,26 2 0,-23-3 103,37 10-1,-47-12-200,1 1 1,17 1-1,-18-3-52,0 1 1,17 4-1,-16-3 51,0-1 0,-1-1 0,1 1 0,0-1 0,0-1 0,16 0 0,17 1 7,-21 0 58,46-4 1,-9 0 777,141 9 208,-186-6-1080,5 0 7,-1 0 0,1 1 1,0 1-1,-1 0 0,21 5 0,-33-6-58,0 0 0,1 0 0,-1 0-1,10-1 1,15 2-1,-16 0 60,1-1 1,17-1-1,14 1 8,42 2-86,-68-3-1,0 0 1,0 1-1,0 1 1,0 1-1,0 0 1,29 9-1,-21-3 495,43 7 0,-57-14-303,1-1 0,-1 0 0,1-1 0,17-2 1,-12 1-64,28 2 0,-19 0 103,0 0-1,48-5 1,175-5 34,-228 7-181,-19 2 52,-1-1-1,0 1 1,0 0-1,1 0 0,-1 1 1,7 0-1,-10 0-34,-1-2-20,4 0-6,-1 0 1,0 0-1,1 1 0,-1-1 1,1 1-1,-1 0 0,1 0 1,-1 0-1,7 1 0,-7 0-24,0-1 0,-1 0 0,1 0 0,0 0 0,-1 0 0,7-1 0,7-1-17,0 1-1,0 0 0,0 1 1,0 0-1,0 2 0,19 3 0,29 1-166,-34-4-136,17 1 169,0-2-1,0-1 0,59-8 0,-23-2-91,1 3 0,157 5-1,-147 1-104,-28-1 160,3 1 600,147 5-849,-36 5 510,-124-8-112,-1-3 1,74-11-1,11-1 35,-4 1 45,-80 6-305,67-1 1,-41 7-149,0-3 1,-1-4 0,133-27-1,36-24-3941,-88 12 5673,-32 13-2715,-19 6-1009,-41 8-80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3.895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579 11296,'0'0'0,"3"-4"0,2-7 0,4-4 288,2 0-288,2 2 296,2 4-296,5 4 488,4-1-488,6-1 488,6-5-488,5-6 640,6-7-640,5-5 648,3-6-648,-8 4 0,-11 8 0,0-1 0,10-3 0,11-5-296,7-3 296,5-1-288,0 3 288,-3 2-4304,-6 5 4304,-9 5-4304,-8 6 4304,-3 1-2160,-8 3-632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4.114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0 403 8072,'0'0'0,"4"-2"0,7-4 0,6-3 1288,8-3-1288,4-3 1288,7-3-1288,5-3 1040,5-1-1040,5-3 1040,5 0-1040,3 0 512,2-2-512,1 0 512,2 0-512,2 1-96,1-1 96,1 3-96,-1 1 96,10 1-9672,-9 3 5784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09:35.663"/>
    </inkml:context>
    <inkml:brush xml:id="br0">
      <inkml:brushProperty name="width" value="0.35" units="cm"/>
      <inkml:brushProperty name="height" value="2.1" units="cm"/>
      <inkml:brushProperty name="color" value="#00A0D7"/>
      <inkml:brushProperty name="inkEffects" value="pencil"/>
    </inkml:brush>
  </inkml:definitions>
  <inkml:trace contextRef="#ctx0" brushRef="#br0">1 279 6368,'0'0'0,"0"0"0,10-7 0,10-6-328,7-6 328,7-4-320,5-2 320,5-2 1008,6-2-1008,5-2 1016,2 0-1016,12-8-5584,-5 4 3424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10:34.351"/>
    </inkml:context>
    <inkml:brush xml:id="br0">
      <inkml:brushProperty name="width" value="0.35" units="cm"/>
      <inkml:brushProperty name="height" value="2.1" units="cm"/>
      <inkml:brushProperty name="color" value="#333333"/>
      <inkml:brushProperty name="inkEffects" value="pencil"/>
    </inkml:brush>
  </inkml:definitions>
  <inkml:trace contextRef="#ctx0" brushRef="#br0">1 2439 5832,'0'0'0,"0"0"0,6 0 0,5 0 2032,2 0-2032,-1 0 2040,-4 0-2040,-2 0 728,-2 0-728,-2 0 736,-2 0-736,0 0-32,-1 0 32,1 0-24,-1 0 24,1 0 352,0 0-352,0 0 352,-1 0-352,1 0 1312,0 0-1312,0 0 1320,1 0-1320,-1 0 0,0 0 0,0 0 8,0 0-8,0 0 32,0 0-32,0 0 40,0 0-40,0 0 320,2-1-320,3-1 320,3-1-320,3-1 0,3 0 0,2 0 0,0-1 0,1-1 120,0 1-120,-1 0 120,1-1-120,0 1-8,0 1 8,0-1 0,0 1 0,0-1-440,-1 0 440,1-1-440,-2 0 440,2 0 64,1-1-64,0 0 64,0 1-64,2 0 400,2 1-400,0 0 400,-1 0-400,-1 1-40,1-2 40,-1 1-40,-2-1 40,-1 1-24,0 0 24,2 0-16,0 0 16,2-1 16,2 0-16,0-1 24,-4 1-24,-2 1 8,-3 0-8,-1 1 16,0 0-16,2-1-16,3 0 16,2-2-16,3 1 16,1-1-24,0-1 24,0-1-16,-2 1 16,-2 1-520,-1 0 520,-1 0-520,-1 0 520,1 0 296,1 0-296,0 0 296,0-1-296,1-1-16,0 1 16,0-1-16,-1 0 16,-1 1 192,-1 1-192,0 0 200,-1 1-200,-1 0-176,1 0 176,0 0-176,-1 1 176,1 0-56,2-1 56,-1 1-48,0-1 48,-1 1-40,0 0 40,0 0-32,0 0 32,2-1 192,1-2-192,1 0 200,-1 0-200,-2 1 8,-1 0-8,1 1 8,2 0-8,2 1-16,2-1 16,1-1-8,-1 1 8,-2-1 48,-2 0-48,-1 0 56,-3 1-56,1 0-280,-1 1 280,1 0-272,0 1 272,0-1 16,2 0-16,1 0 24,-1 0-24,0 0 0,1 1 0,-1 1 0,1-1 0,0 1 0,1 0 0,-1-1 8,-1 1-8,-1-2 0,0 1 0,-2 0 8,0-1-8,-2 1-80,0 0 80,-1 0-80,0 1 80,-2 0 0,1 0 0,-1 1 8,1 0-8,0 1 0,0-1 0,2 0 8,1-1-8,1 0 304,2-2-304,2-1 304,1 1-304,0-2-336,1 1 336,1 0-336,0 1 336,0-1 64,2 0-64,0 0 72,0 0-72,1 0 40,0 0-40,-1 1 48,-2 1-48,-1-1-152,0 1 152,-1 0-144,0 1 144,-1 0-192,2 0 192,0 1-184,0 0 184,1 1-16,0-1 16,0-1-8,-2 0 8,-2 0 16,-2 1-16,0 0 16,3-1-16,2-1 344,2 0-344,3-2 344,1-1-344,0 0-40,1 0 40,1 0-40,-1-1 40,1 0 24,-1 0-24,-1 0 32,-1 0-32,-3 2-216,-1 1 216,-1 1-216,-1 1 216,0 1 8,0 1-8,0-1 16,2 1-16,2-1-208,0 0 208,0-1-208,-1-1 208,-2 1 360,-1 0-360,-1 0 368,3 0-368,3-1 16,2-1-16,0-2 16,1 1-16,-2 0 0,-2 1 0,-1 0 0,0 0 0,0 0 16,1 0-16,0 0 16,1-1-16,0 0-448,1-2 448,-1 0-448,0 0 448,-1 0 608,1 2-608,0 1 608,1-1-608,2 0-128,1 0 128,1-1-120,-2 1 120,-2 1-8,-1 1 8,-3 0-8,0 0 8,-3 0 144,1 2-144,0 0 152,1-1-152,0 1-16,2 0 16,0 0-8,0-3 8,1-1-400,-1 0 400,0-1-400,-4 2 400,-3 0-8,-2 2 8,-1 0 0,-1 1 0,2 1-184,2-1 184,1-1-176,0 0 176,-1 0 8,1 1-8,1 0 16,1 1-16,2 0 72,2 1-72,2 0 80,1-1-80,-2-1 312,1-2-312,-2-1 320,-1-1-320,0 0-16,-2 0 16,1 1-16,0 0 16,0 0-24,-3-1 24,-1 1-24,-1 0 24,-1 0 88,-1 1-88,-3 0 88,0 1-88,-3 1 0,1-1 0,1 0 0,1 0 0,3 0 40,2 1-40,2 1 48,1-1-48,1 0 184,0-1-184,2 0 192,1-1-192,1-1 48,2 0-48,3-1 48,2 0-48,2-1 208,-1-1-208,-1 0 208,0-1-208,-2 2 0,0 0 0,-2 0 0,-2 1 0,-2 1 56,-2 0-56,-2 0 56,1 0-56,1 0 8,1 0-8,2 0 8,0-1-8,1 1-280,2-1 280,0 0-272,0 1 272,2-1-232,1 0 232,1 0-232,1 0 232,2 2 352,0 0-352,1 1 352,1 0-352,1 0 120,1-2-120,-1 0 128,-4-2-128,-2 0 447,-1 1-447,0-2 456,1 1-456,1-1-48,1-1 48,2 0-40,0 1 40,1 0 304,-2 1-304,-1 0 304,-1 1-304,0-1 16,-1 0-16,1 0 16,1 0-16,1 1 64,0 0-64,1 1 64,0 1-64,0 1 40,0 0-40,0 0 40,0-1-40,-1-2 48,0 0-48,0-2 48,-1 1-48,-1-2 0,-1 1 0,-1-1 8,-1 1-8,0-1 288,-1 1-288,1 0 296,-1 1-296,-1 1-264,0 0 264,-1 1-256,0 0 256,1 1 8,0 1-8,0 2 16,2-1-16,1-1 64,0 1-64,0 0 72,-1-3-72,0 0 48,-1-3-48,-1-1 56,2 0-56,0-1 32,2 1-32,1 1 32,2-1-32,0 1-40,0 0 40,-1 0-40,1-1 40,0 1-16,1 0 16,0 3-8,1 0 8,1 0-88,0 1 88,-2 0-80,-2-1 80,-5 0 0,-2 0 0,-1-1 0,-1 1 0,2-1-8,1 1 8,2 0 0,2 1 0,1-1 40,3 1-40,2-1 40,1 0-40,1-1 64,1 1-64,2-2 72,0 0-72,0-1 72,0 1-72,-1 1 72,-1 0-72,-3 1 8,-2 0-8,-1 1 8,-1-1-8,-1 0-16,2 0 16,-1-1-8,1 0 8,1 0-48,1 0 48,-1 2-40,0 0 40,-1 1-72,1 1 72,1 0-72,1 2 72,1-1 72,1-1-72,0 0 80,0 0-80,-1-1 320,-3 1-320,0-2 328,-2 1-328,1-2-88,2-1 88,1-2-80,2 1 80,1-2 0,2 1 0,1 1 0,1 0 0,0 1-96,0 0 96,-1 2-96,0 0 96,0 2-216,-3-1 216,-2 1-216,-3 0 216,-2 0-48,0-1 48,0 1-40,1-2 40,2 1 0,2-2 0,1-1 8,1 0-8,0 0 8,1 0-8,-1 1 8,0 0-8,-1 1 272,2 3-272,0 0 272,-1 0-272,-2 0-8,0 1 8,-2-2 0,-1-1 0,-2-2 56,0-1-56,0-1 56,-1 0-56,0 0-64,1 1 64,-1 1-64,1 0 64,-2 3-16,1 0 16,0 1-8,1 1 8,0 0-368,1 0 368,2 0-368,1 0 368,1-1 216,-3 1-216,-1 1 216,-2-2-216,-2 1 120,1-1-120,-1-1 128,1 0-128,1-1-24,0-1 24,0 0-16,1 1 16,-1-1 8,0 1-8,0 1 8,-1-1-8,0 0 0,0-2 0,0-1 0,0 1 0,0 0-232,0 1 232,0 0-232,-2 2 232,0 1 256,-1 3-256,1 1 256,-1 1-256,0-1 0,0-1 0,0-1 0,1-3 0,1-1-64,1 0 64,1-1-64,0 0 64,0 0-24,0-1 24,-2-1-24,0 1 24,-1 1-176,-2 1 176,-1 0-176,-1 2 176,0 0-8,-1 1 8,0 0 0,1 0 0,0 1-256,0-2 256,-1 1-256,1 0 256,0 1 112,-1 3-112,1 2 120,0 0-120,-1-2 248,0-3-248,1-2 248,1-2-248,1-2-8,1-1 8,1 0 0,0 3 0,0 1-8,0 0 8,-1 1-8,-1 0 8,1 1-272,1 2 272,1 2-272,0-1 272,-1-3 48,0-1-48,0-3 56,-1 2-56,-1 1 96,0 2-96,1 1 96,-2 1-96,1 0 0,0-1 0,0-1 0,0-1 0,2 0 32,2 0-32,0-1 40,0 0-40,1 0 48,-2 0-48,0 0 56,-1-1-56,-2 0-208,-1 0 208,0 1-208,-1 1 208,-2 1 144,1 1-144,-1 0 144,0 0-144,-1 0-24,1-1 24,-1-2-16,0 0 16,-2 0 0,-1 2 0,0 0 0,0 1 0,-1 1 24,1 1-24,1 0 24,0-1-24,0-1 16,-1-1-16,1-2 24,1 0-24,-1 0 16,1 0-16,-1 0 16,-1 1-16,0 0 80,-2 1-80,-1 0 88,-1 0-88,-1 0-40,-1 1 40,-1 0-32,1-2 32,0 0 8,2-1-8,1 0 8,3 1-8,2 1-8,4 1 8,3 2-8,2-1 8,2-1 32,3 0-32,0-1 32,0 0-32,-3 0 24,-2 0-24,-3 0 32,-2 0-32,-4-1 16,-3-1-16,-2 0 16,-3 0-16,-3 0 328,-1 1-328,-2-1 336,-2 1-336,-2 0 592,-2 0-592,0 0 592,-1 0-592,-1 0 288,1 0-288,-1 0 288,1 0-288,0 0-1216,0 0 1216,0 0-1216,0 0 1216,0 0-12847,0 0 7527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4.300"/>
    </inkml:context>
    <inkml:brush xml:id="br0">
      <inkml:brushProperty name="width" value="0.35" units="cm"/>
      <inkml:brushProperty name="height" value="2.1" units="cm"/>
      <inkml:brushProperty name="color" value="#33CCFF"/>
      <inkml:brushProperty name="inkEffects" value="pencil"/>
    </inkml:brush>
  </inkml:definitions>
  <inkml:trace contextRef="#ctx0" brushRef="#br0">421 6 10400,'0'0'0,"0"0"0,1 3 0,-1 1-3616,2 2 3616,0-1-3608,0-1 3608,-1-1 1448,0-1-1448,0-1 1448,-1-1-1448,0 0 2384,0 0-2384,0 0 2384,0 0-2384,0-1 912,0 1-912,0 0 912,0 0-912,0 0 920,-1 4-920,-2 2 920,-1 3-920,-1 2 848,-2 1-848,0 2 856,-2 1-856,-2 2 375,0 0-375,-2 1 384,-2-1-384,0 1 208,1-1-208,0 0 208,0-1-208,0 0 376,0 0-376,1 0 376,-1 0-376,0-2-40,0 0 40,0-1-32,0 0 32,0 0 480,-2 0-480,0-1 488,1-2-488,2 1 144,1-2-144,2-1 152,2-2-152,3-1 8,-1 1-8,2-2 8,-1 0-8,1 0 48,1-2-48,0 0 48,2-1-48,1-1 0,0 0 0,0 0 8,0 0-8,0 0 80,0 0-80,0-1 80,0 1-80,0 0 24,0 0-24,1 0 32,-1 0-32,-1 0 176,0 2-176,-2 1 176,-1 1-176,-1 0 104,0 2-104,0-2 104,-1 1-104,1 0-120,2-1 120,0-2-112,2-1 112,0 0-32,1-1 32,0 0-32,1 0 32,-1 0-128,0 0 128,0-1-120,0 1 120,0 0-136,0 0 136,0 0-128,0 0 128,0 0-400,0 0 400,0 0-392,0 0 392,0 0 448,0 0-448,0 0 448,0 0-448,0 0-16,0 0 16,0 0-16,0 0 16,0 0-8,2-1 8,0 0 0,2-4 0,4-1 184,4-4-184,3-3 192,3-2-192,1-2 48,2-3-48,1 0 56,-1-1-56,-2 2 40,-1 0-40,-1 0 40,0-1-40,2-1 24,0 0-24,1 0 32,-3 4-32,-4 3 0,-3 4 0,1-1 0,1-4 0,2-2-8,2-4 8,0-1 0,-1 2 0,-2 1 64,-2 3-64,-3 4 72,-1 2-72,-3 4 8,-1 2-8,-2 2 8,-1 1-8,0 1-32,0 1 32,-1 0-24,1-1 24,0 0-24,0-1 24,0 0-24,3-3 24,0 1-56,2-2 56,0 2-56,0 0 56,-2 0-32,-3 3 32,-1 0-24,0 0 24,-1 1-48,1-1 48,0 0-40,-2 3 40,-2 2-8,-2 4 8,-3 2 0,-3 3 0,-2 1-16,-4 3 16,-1 3-16,-3 1 16,0 3 0,-3 0 0,0 1 8,1 0-8,0 1-272,2 0 272,1 0-272,0 0 272,-4 5-13935,4-2 8567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10-04T10:41:39.745"/>
    </inkml:context>
    <inkml:brush xml:id="br0">
      <inkml:brushProperty name="width" value="0.35" units="cm"/>
      <inkml:brushProperty name="height" value="2.1" units="cm"/>
      <inkml:brushProperty name="color" value="#E71224"/>
      <inkml:brushProperty name="inkEffects" value="pencil"/>
    </inkml:brush>
  </inkml:definitions>
  <inkml:trace contextRef="#ctx0" brushRef="#br0">374 102 992,'0'0'0,"0"0"0,0 0 0,0 0 2144,0 0-2144,0 0 2144,0 0-2144,0 0 1640,0 0-1640,0 0 1648,-3 5-1648,-3 4 1408,-2 5-1408,-2 3 1416,-1 1-1416,-1 2 808,1 0-808,1-1 816,-2 0-816,-1 1 768,0 1-768,-1 0 768,0 1-768,-2-2 104,-2 0-104,-2-2 104,-2 1-104,1-1 368,2 1-368,2 0 368,0 0-368,1-2 0,1-3 0,1-3 8,1-2-8,3-1-488,3-2 488,1-1-488,3-1 488,1-2 296,1-1-296,1-1 296,1 0-296,-1 0-192,1 0 192,-1 0-184,0-1 184,0 1 480,0 0-480,0 0 480,2-2-480,0-1 288,3-3-288,2-1 288,3-4-288,2-2 80,4-3-80,2-3 79,0-1-79,0-1 0,1-1 0,0 0 0,-2 1 0,0-1-319,0 1 319,0-1-312,1 0 312,0 0-192,1 0 192,0 1-184,-3 3 184,-1 2 328,-2 3-328,-3 4 336,-1 1-336,-2 3-8,-1 0 8,-1 1 0,-1 2 0,-2 0 272,-1 1-272,-1 1 271,0 0-271,0 0 432,1-1-432,0-1 440,2-1-440,-1-1-240,1 0 240,0 0-240,-1 1 240,-1 0-224,0 2 224,-1 0-224,1 1 224,-1 0-447,-1 0 447,1 0-448,0 0 448,0 1 272,0-1-272,0 0 272,0 0-272,0 0-8,0 0 8,0 0 0,0 0 0,0 0 351,1-1-351,1-1 360,2-1-360,-1 1 40,2-2-40,-1 1 40,-1 0-40,0 1-160,-2 1 160,0 1-160,-1-1 160,0 1-8,0 1 8,0-1-8,-1 0 8,1 0-240,0 0 240,0 0-239,0 0 239,0 0 0,1-1 0,0-1 8,1-1-8,1 0 287,2-1-287,-1 1 288,1-1-288,0 1-344,-1-2 344,0 2-343,-2 0 343,0 1 200,-1 1-200,-1 0 207,0 1-207,0 0 120,0-1-120,0-1 120,0-1-120,0-1 360,0 1-360,1 1 368,-1 1-368,0 0-264,0 0 264,0 1-264,0-1 264,1-1-248,0-1 248,1-1-248,0 0 248,0 0 272,-1 1-272,0 0 280,0 2-280,-1 0-8,0 1 8,0 0 0,0-2 0,0 0 584,0 1-584,0-1 584,0 1-584,0 0 8,-3 3-8,-2 1 16,-3 2-16,-2 3 280,-3 2-280,0 2 288,-2 2-288,0 1 48,0 2-48,0 2 48,-1 0-48,-1 0 272,-2 0-272,-1 0 272,0 0-272,1-2 0,0 2 0,0-1 0,2 0 0,-1 0 168,1 0-168,-1 0 168,1 1-168,0-2 24,1-1-24,2-2 32,2-2-32,2 0 0,2-2 0,2-2 0,3-2 0,1-3 0,2-1 0,0-1 8,0-1-8,1-1-336,-1 1 336,1-1-336,-1 1 336,0 0-344,1-2 344,0-2-344,3-3 344,2-2 48,3-4-48,4-3 56,3-3-56,4-2-8,0-3 8,1-1-8,-2 2 8,-1 1-400,-2 2 400,1-1-392,1-3 392,2-2 144,2-3-144,0 1 152,-3 2-152,-1 4-1256,-2 5 1256,-4 5-1247,-2 3 1247,0 2-10848,-3 3 6184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0:57.9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1976 0 0,'0'0'10886'0'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538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22 1 12016 0 0,'0'0'0'0'0,"-5"19"0"0"0,-1 13 0 0 0,-4 20-8536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647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7 1 5384 0 0,'0'0'0'0'0,"-7"14"0"0"0,-2 0-3560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9-16T08:01:27.742"/>
    </inkml:context>
    <inkml:brush xml:id="br0">
      <inkml:brushProperty name="width" value="0.1" units="cm"/>
      <inkml:brushProperty name="height" value="0.1" units="cm"/>
      <inkml:brushProperty name="color" value="#008C3A"/>
    </inkml:brush>
  </inkml:definitions>
  <inkml:trace contextRef="#ctx0" brushRef="#br0">1 4 7088 0 0,'0'0'0'0'0,"12"0"0"0"0,4-4 1112 0 0,-18 17-3056 0 0,-1-2 0 0 0,-1-1-328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ADC1DD3-0493-46C3-BD53-8794B61DBF4A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2311390-20C9-4ACC-861C-4A0879D0549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767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oupling between marine shallow</a:t>
            </a:r>
          </a:p>
          <a:p>
            <a:r>
              <a:rPr lang="en-GB" dirty="0"/>
              <a:t>trade-wind clouds and circulation is known to play a </a:t>
            </a:r>
            <a:r>
              <a:rPr lang="en-GB" dirty="0" err="1"/>
              <a:t>cen</a:t>
            </a:r>
            <a:r>
              <a:rPr lang="en-GB" dirty="0"/>
              <a:t>-</a:t>
            </a:r>
          </a:p>
          <a:p>
            <a:r>
              <a:rPr lang="en-GB" dirty="0" err="1"/>
              <a:t>tral</a:t>
            </a:r>
            <a:r>
              <a:rPr lang="en-GB" dirty="0"/>
              <a:t> role in the uncertainty of the tropical cloud feedback and climate sensitivity estimated by model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32647E-1901-48D5-AA7D-6B7FAF87005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1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Free-</a:t>
            </a:r>
            <a:r>
              <a:rPr lang="it-IT" dirty="0" err="1"/>
              <a:t>tropospheric</a:t>
            </a:r>
            <a:r>
              <a:rPr lang="it-IT" dirty="0"/>
              <a:t> MSE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constant</a:t>
            </a:r>
            <a:r>
              <a:rPr lang="it-IT" dirty="0"/>
              <a:t> </a:t>
            </a:r>
            <a:r>
              <a:rPr lang="it-IT" dirty="0" err="1"/>
              <a:t>along</a:t>
            </a:r>
            <a:r>
              <a:rPr lang="it-IT" dirty="0"/>
              <a:t> pseudo-</a:t>
            </a:r>
            <a:r>
              <a:rPr lang="it-IT" dirty="0" err="1"/>
              <a:t>adiabats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5008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11390-20C9-4ACC-861C-4A0879D05495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42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58269-0FCC-1D3F-C579-939719D22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E3049F68-93B6-EC38-630B-0476E68A1C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7F45CFCC-D890-062B-3B48-0441D94AA5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B8839F6-1EDB-CC9F-B424-C078ACEB4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78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C23881-83DB-62CF-B625-034AC2B54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1E2C79C0-7CE2-3511-4FCA-740CE999F0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E9AB5FF-DEB5-F3AF-72FF-D56B559B8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EB836F2-2D2B-9414-F201-2B02B4742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935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3B341-CFA4-1A8F-7C30-6F56CA05F6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63B6061-6404-72BF-1A3E-A303FB847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D2DB07D-7163-8369-B0BB-9A4F1365D9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heck </a:t>
            </a:r>
            <a:r>
              <a:rPr lang="it-IT" dirty="0" err="1"/>
              <a:t>how</a:t>
            </a:r>
            <a:r>
              <a:rPr lang="it-IT" dirty="0"/>
              <a:t> WRF </a:t>
            </a:r>
            <a:r>
              <a:rPr lang="it-IT" dirty="0" err="1"/>
              <a:t>is</a:t>
            </a:r>
            <a:r>
              <a:rPr lang="it-IT" dirty="0"/>
              <a:t> computing </a:t>
            </a:r>
            <a:r>
              <a:rPr lang="it-IT" dirty="0" err="1"/>
              <a:t>surface</a:t>
            </a:r>
            <a:r>
              <a:rPr lang="it-IT" dirty="0"/>
              <a:t> </a:t>
            </a:r>
            <a:r>
              <a:rPr lang="it-IT" dirty="0" err="1"/>
              <a:t>fluxes</a:t>
            </a:r>
            <a:r>
              <a:rPr lang="it-IT" dirty="0"/>
              <a:t> in the </a:t>
            </a:r>
            <a:r>
              <a:rPr lang="it-IT" dirty="0" err="1"/>
              <a:t>coupled</a:t>
            </a:r>
            <a:r>
              <a:rPr lang="it-IT" dirty="0"/>
              <a:t> </a:t>
            </a:r>
            <a:r>
              <a:rPr lang="it-IT" dirty="0" err="1"/>
              <a:t>simulation</a:t>
            </a:r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2F08D79-06F1-9C7D-90D4-34C77B748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64876-63CE-4D9B-992D-5419C8B32A0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243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CF213F9-A88A-651C-8597-844BE615F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E10578F-31C5-DD4B-418A-D061028FE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F2981DC-B2CE-A28D-43FB-59C264D65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78E1CF-8C61-3E3D-BCC0-09B866F4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E9FFAA-E6DC-32F4-3344-9FFC26203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520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EADF1A-77B5-E80E-D51C-0AA7BF9C2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F8F8BAB-63C8-C2D9-3C51-BDA9D116EC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4DB1FF-671A-A0B8-CDF4-856F52D94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6A5DE4-1BA8-D2CA-B7DC-59F20CF24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613F6C-E208-D508-FDA5-80233AFAD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920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D6DF4DD8-23E0-4910-0F14-D6210475FE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356F801-CFF9-DEA6-840B-D9720433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D56F39-ACB6-1B1C-D832-7F3F0FA1C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3D1E999-4CB2-7CC4-4C92-F1C6625EE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1E87DC3-691F-51B5-F673-7BD452473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7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CC673F4-B2D3-454D-9090-E3ADDCB64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5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49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05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22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64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47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6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3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03463FD-3FAC-3F71-A7AC-82AED9D1F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27C69A3-1D03-325B-D560-7F8675D9B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4F34F2-D20F-019C-7494-8595EFD3D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82964D-71CA-1714-8532-AAEF0C29B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B5750C-888C-89C6-3E43-39F0B618D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89491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5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909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1439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1373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42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902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13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79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36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8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84DE91-1A94-710E-013F-7283EB798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8DABDE-999E-6E6A-EA7C-EEEB3FD7F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4D77E7-9DB8-159D-B1BC-290788A2D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4C75BF-0D87-ACD7-C839-765C7849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047D844-91EB-1928-55C3-0B5862FA6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76204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95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82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</a:t>
            </a:r>
            <a:r>
              <a:rPr lang="de-DE" dirty="0" err="1"/>
              <a:t>Modelling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364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01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864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Kapiteltrenn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962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Kapiteltrenn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902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Kapiteltrenn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20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Kapiteltrenn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301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Kapiteltrenn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17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9B83D5-D972-5D8E-692A-2BC98979F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C475265-8114-7946-77C4-9D6A4554B4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F257F1B-4A2B-C39A-F3A5-221BBD98C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EA3D1F-2DF1-7382-46E3-EB0140FF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7FF053-CEF9-B6B0-6949-8F95EEF59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C840505-BB0F-561B-53C7-72C9B5FE9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2194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Kapiteltrenner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906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Kapiteltrenner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383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Kapiteltrenner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0_Kapiteltrenner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53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1_Kapiteltrenner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8206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2_Kapiteltrenner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54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1348D0F-6869-164A-E0D2-39CC9E496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23EC749-98AF-50A0-EC63-087AE9469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9074133-82E4-16EC-7CEE-57AD62EFC3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D06D53F-67AA-29A8-5784-2E1F9D07B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0000D82F-4A2D-8CCD-119F-D3E2CE497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5B212B1-8070-16AB-4FA9-F2372B5C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179D7201-4B14-99DC-5749-0E089C6D8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59C5507B-6663-433B-E84E-875E7344E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0599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D4F6BE7-757E-56FA-4E0F-6E17AA1B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4B72AD7-C79A-5288-1E24-AE43AE354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3976F6-1FD2-209C-F3DD-E71ECA664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204098B-A7C8-309B-FC5E-C485D1618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202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9EF89AD-9836-8436-B78A-727551CE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64F972-F76D-1801-CAF8-C29CFCCE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71BD330-1642-FFE7-5257-F1E8078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9783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2BA881-5A2A-3852-3B42-D9ED5C192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CDF34F4-D410-0E0D-90AA-1E879969A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B3247E5-53AF-FD25-FCFC-DE2019D4A7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00FB3B5-853A-08D6-F356-C64265CD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A627E74-B969-564B-B4CC-23BF846BA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2896FC7-FCC0-BAF2-6C54-1C0D69E84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203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7B4FC-89F4-9866-245F-2376D259F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7A222478-8FE2-79DD-F1D9-4FA02AF06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9DC2C8A-1DDB-89AE-68AE-020257B33C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9201F4-4A8F-9A44-6318-E5298F40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C624DF-CE26-D139-CCC7-4BB6D901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111F0F-DFCF-15CF-7236-987DE65A0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ags" Target="../tags/tag2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1F6C5D8-F7DE-DD5D-DF3B-3C779867A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2428FC-5BFD-B3AF-6486-58D4833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B65313-CF1E-98D9-0F66-6096B6DE6D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E7AB8B3-228B-4AAF-9E13-3606109D5567}" type="datetimeFigureOut">
              <a:rPr lang="it-IT" smtClean="0"/>
              <a:t>05/10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855025-61C7-5B70-F57F-AE37CC818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D4D85F-EB37-6A6E-088E-3D6D70DF7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9462C7-FC75-48FE-B23B-3A5013EAA38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1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84" imgH="385" progId="TCLayout.ActiveDocument.1">
                  <p:embed/>
                </p:oleObj>
              </mc:Choice>
              <mc:Fallback>
                <p:oleObj name="think-cell Folie" r:id="rId3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Meteorologie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4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51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710.png"/><Relationship Id="rId21" Type="http://schemas.openxmlformats.org/officeDocument/2006/relationships/customXml" Target="../ink/ink104.xml"/><Relationship Id="rId42" Type="http://schemas.openxmlformats.org/officeDocument/2006/relationships/image" Target="../media/image350.png"/><Relationship Id="rId63" Type="http://schemas.openxmlformats.org/officeDocument/2006/relationships/customXml" Target="../ink/ink125.xml"/><Relationship Id="rId84" Type="http://schemas.openxmlformats.org/officeDocument/2006/relationships/image" Target="../media/image560.png"/><Relationship Id="rId138" Type="http://schemas.openxmlformats.org/officeDocument/2006/relationships/customXml" Target="../ink/ink164.xml"/><Relationship Id="rId159" Type="http://schemas.openxmlformats.org/officeDocument/2006/relationships/image" Target="../media/image92.png"/><Relationship Id="rId170" Type="http://schemas.openxmlformats.org/officeDocument/2006/relationships/customXml" Target="../ink/ink180.xml"/><Relationship Id="rId107" Type="http://schemas.openxmlformats.org/officeDocument/2006/relationships/image" Target="../media/image660.png"/><Relationship Id="rId11" Type="http://schemas.openxmlformats.org/officeDocument/2006/relationships/customXml" Target="../ink/ink99.xml"/><Relationship Id="rId32" Type="http://schemas.openxmlformats.org/officeDocument/2006/relationships/image" Target="../media/image300.png"/><Relationship Id="rId53" Type="http://schemas.openxmlformats.org/officeDocument/2006/relationships/customXml" Target="../ink/ink120.xml"/><Relationship Id="rId74" Type="http://schemas.openxmlformats.org/officeDocument/2006/relationships/image" Target="../media/image511.png"/><Relationship Id="rId128" Type="http://schemas.openxmlformats.org/officeDocument/2006/relationships/customXml" Target="../ink/ink159.xml"/><Relationship Id="rId149" Type="http://schemas.openxmlformats.org/officeDocument/2006/relationships/image" Target="../media/image870.png"/><Relationship Id="rId95" Type="http://schemas.openxmlformats.org/officeDocument/2006/relationships/image" Target="../media/image610.png"/><Relationship Id="rId160" Type="http://schemas.openxmlformats.org/officeDocument/2006/relationships/customXml" Target="../ink/ink175.xml"/><Relationship Id="rId181" Type="http://schemas.openxmlformats.org/officeDocument/2006/relationships/image" Target="../media/image103.png"/><Relationship Id="rId22" Type="http://schemas.openxmlformats.org/officeDocument/2006/relationships/image" Target="../media/image250.png"/><Relationship Id="rId43" Type="http://schemas.openxmlformats.org/officeDocument/2006/relationships/customXml" Target="../ink/ink115.xml"/><Relationship Id="rId64" Type="http://schemas.openxmlformats.org/officeDocument/2006/relationships/image" Target="../media/image460.png"/><Relationship Id="rId118" Type="http://schemas.openxmlformats.org/officeDocument/2006/relationships/customXml" Target="../ink/ink154.xml"/><Relationship Id="rId139" Type="http://schemas.openxmlformats.org/officeDocument/2006/relationships/image" Target="../media/image820.png"/><Relationship Id="rId85" Type="http://schemas.openxmlformats.org/officeDocument/2006/relationships/customXml" Target="../ink/ink136.xml"/><Relationship Id="rId150" Type="http://schemas.openxmlformats.org/officeDocument/2006/relationships/customXml" Target="../ink/ink170.xml"/><Relationship Id="rId171" Type="http://schemas.openxmlformats.org/officeDocument/2006/relationships/image" Target="../media/image98.png"/><Relationship Id="rId12" Type="http://schemas.openxmlformats.org/officeDocument/2006/relationships/image" Target="../media/image200.png"/><Relationship Id="rId33" Type="http://schemas.openxmlformats.org/officeDocument/2006/relationships/customXml" Target="../ink/ink110.xml"/><Relationship Id="rId108" Type="http://schemas.openxmlformats.org/officeDocument/2006/relationships/customXml" Target="../ink/ink149.xml"/><Relationship Id="rId129" Type="http://schemas.openxmlformats.org/officeDocument/2006/relationships/image" Target="../media/image770.png"/><Relationship Id="rId54" Type="http://schemas.openxmlformats.org/officeDocument/2006/relationships/image" Target="../media/image410.png"/><Relationship Id="rId75" Type="http://schemas.openxmlformats.org/officeDocument/2006/relationships/customXml" Target="../ink/ink131.xml"/><Relationship Id="rId96" Type="http://schemas.openxmlformats.org/officeDocument/2006/relationships/customXml" Target="../ink/ink142.xml"/><Relationship Id="rId140" Type="http://schemas.openxmlformats.org/officeDocument/2006/relationships/customXml" Target="../ink/ink165.xml"/><Relationship Id="rId161" Type="http://schemas.openxmlformats.org/officeDocument/2006/relationships/image" Target="../media/image93.png"/><Relationship Id="rId182" Type="http://schemas.openxmlformats.org/officeDocument/2006/relationships/customXml" Target="../ink/ink186.xml"/><Relationship Id="rId23" Type="http://schemas.openxmlformats.org/officeDocument/2006/relationships/customXml" Target="../ink/ink105.xml"/><Relationship Id="rId119" Type="http://schemas.openxmlformats.org/officeDocument/2006/relationships/image" Target="../media/image720.png"/><Relationship Id="rId44" Type="http://schemas.openxmlformats.org/officeDocument/2006/relationships/image" Target="../media/image360.png"/><Relationship Id="rId65" Type="http://schemas.openxmlformats.org/officeDocument/2006/relationships/customXml" Target="../ink/ink126.xml"/><Relationship Id="rId86" Type="http://schemas.openxmlformats.org/officeDocument/2006/relationships/image" Target="../media/image570.png"/><Relationship Id="rId130" Type="http://schemas.openxmlformats.org/officeDocument/2006/relationships/customXml" Target="../ink/ink160.xml"/><Relationship Id="rId151" Type="http://schemas.openxmlformats.org/officeDocument/2006/relationships/image" Target="../media/image88.png"/><Relationship Id="rId172" Type="http://schemas.openxmlformats.org/officeDocument/2006/relationships/customXml" Target="../ink/ink181.xml"/><Relationship Id="rId13" Type="http://schemas.openxmlformats.org/officeDocument/2006/relationships/customXml" Target="../ink/ink100.xml"/><Relationship Id="rId18" Type="http://schemas.openxmlformats.org/officeDocument/2006/relationships/image" Target="../media/image23.png"/><Relationship Id="rId39" Type="http://schemas.openxmlformats.org/officeDocument/2006/relationships/customXml" Target="../ink/ink113.xml"/><Relationship Id="rId109" Type="http://schemas.openxmlformats.org/officeDocument/2006/relationships/image" Target="../media/image670.png"/><Relationship Id="rId34" Type="http://schemas.openxmlformats.org/officeDocument/2006/relationships/image" Target="../media/image310.png"/><Relationship Id="rId50" Type="http://schemas.openxmlformats.org/officeDocument/2006/relationships/image" Target="../media/image390.png"/><Relationship Id="rId55" Type="http://schemas.openxmlformats.org/officeDocument/2006/relationships/customXml" Target="../ink/ink121.xml"/><Relationship Id="rId76" Type="http://schemas.openxmlformats.org/officeDocument/2006/relationships/image" Target="../media/image520.png"/><Relationship Id="rId97" Type="http://schemas.openxmlformats.org/officeDocument/2006/relationships/image" Target="../media/image620.png"/><Relationship Id="rId104" Type="http://schemas.openxmlformats.org/officeDocument/2006/relationships/customXml" Target="../ink/ink147.xml"/><Relationship Id="rId120" Type="http://schemas.openxmlformats.org/officeDocument/2006/relationships/customXml" Target="../ink/ink155.xml"/><Relationship Id="rId125" Type="http://schemas.openxmlformats.org/officeDocument/2006/relationships/image" Target="../media/image750.png"/><Relationship Id="rId141" Type="http://schemas.openxmlformats.org/officeDocument/2006/relationships/image" Target="../media/image830.png"/><Relationship Id="rId146" Type="http://schemas.openxmlformats.org/officeDocument/2006/relationships/customXml" Target="../ink/ink168.xml"/><Relationship Id="rId167" Type="http://schemas.openxmlformats.org/officeDocument/2006/relationships/image" Target="../media/image96.png"/><Relationship Id="rId188" Type="http://schemas.openxmlformats.org/officeDocument/2006/relationships/image" Target="../media/image106.png"/><Relationship Id="rId71" Type="http://schemas.openxmlformats.org/officeDocument/2006/relationships/customXml" Target="../ink/ink129.xml"/><Relationship Id="rId92" Type="http://schemas.openxmlformats.org/officeDocument/2006/relationships/customXml" Target="../ink/ink140.xml"/><Relationship Id="rId162" Type="http://schemas.openxmlformats.org/officeDocument/2006/relationships/customXml" Target="../ink/ink176.xml"/><Relationship Id="rId183" Type="http://schemas.openxmlformats.org/officeDocument/2006/relationships/image" Target="../media/image104.png"/><Relationship Id="rId2" Type="http://schemas.openxmlformats.org/officeDocument/2006/relationships/customXml" Target="../ink/ink96.xml"/><Relationship Id="rId29" Type="http://schemas.openxmlformats.org/officeDocument/2006/relationships/customXml" Target="../ink/ink108.xml"/><Relationship Id="rId24" Type="http://schemas.openxmlformats.org/officeDocument/2006/relationships/image" Target="../media/image260.png"/><Relationship Id="rId40" Type="http://schemas.openxmlformats.org/officeDocument/2006/relationships/image" Target="../media/image340.png"/><Relationship Id="rId45" Type="http://schemas.openxmlformats.org/officeDocument/2006/relationships/customXml" Target="../ink/ink116.xml"/><Relationship Id="rId66" Type="http://schemas.openxmlformats.org/officeDocument/2006/relationships/image" Target="../media/image470.png"/><Relationship Id="rId87" Type="http://schemas.openxmlformats.org/officeDocument/2006/relationships/customXml" Target="../ink/ink137.xml"/><Relationship Id="rId110" Type="http://schemas.openxmlformats.org/officeDocument/2006/relationships/customXml" Target="../ink/ink150.xml"/><Relationship Id="rId115" Type="http://schemas.openxmlformats.org/officeDocument/2006/relationships/image" Target="../media/image700.png"/><Relationship Id="rId131" Type="http://schemas.openxmlformats.org/officeDocument/2006/relationships/image" Target="../media/image780.png"/><Relationship Id="rId136" Type="http://schemas.openxmlformats.org/officeDocument/2006/relationships/customXml" Target="../ink/ink163.xml"/><Relationship Id="rId157" Type="http://schemas.openxmlformats.org/officeDocument/2006/relationships/image" Target="../media/image91.png"/><Relationship Id="rId178" Type="http://schemas.openxmlformats.org/officeDocument/2006/relationships/customXml" Target="../ink/ink184.xml"/><Relationship Id="rId61" Type="http://schemas.openxmlformats.org/officeDocument/2006/relationships/customXml" Target="../ink/ink124.xml"/><Relationship Id="rId82" Type="http://schemas.openxmlformats.org/officeDocument/2006/relationships/image" Target="../media/image550.png"/><Relationship Id="rId152" Type="http://schemas.openxmlformats.org/officeDocument/2006/relationships/customXml" Target="../ink/ink171.xml"/><Relationship Id="rId173" Type="http://schemas.openxmlformats.org/officeDocument/2006/relationships/image" Target="../media/image99.png"/><Relationship Id="rId19" Type="http://schemas.openxmlformats.org/officeDocument/2006/relationships/customXml" Target="../ink/ink103.xml"/><Relationship Id="rId14" Type="http://schemas.openxmlformats.org/officeDocument/2006/relationships/image" Target="../media/image210.png"/><Relationship Id="rId30" Type="http://schemas.openxmlformats.org/officeDocument/2006/relationships/image" Target="../media/image290.png"/><Relationship Id="rId35" Type="http://schemas.openxmlformats.org/officeDocument/2006/relationships/customXml" Target="../ink/ink111.xml"/><Relationship Id="rId56" Type="http://schemas.openxmlformats.org/officeDocument/2006/relationships/image" Target="../media/image420.png"/><Relationship Id="rId77" Type="http://schemas.openxmlformats.org/officeDocument/2006/relationships/customXml" Target="../ink/ink132.xml"/><Relationship Id="rId100" Type="http://schemas.openxmlformats.org/officeDocument/2006/relationships/customXml" Target="../ink/ink144.xml"/><Relationship Id="rId105" Type="http://schemas.openxmlformats.org/officeDocument/2006/relationships/image" Target="../media/image650.png"/><Relationship Id="rId126" Type="http://schemas.openxmlformats.org/officeDocument/2006/relationships/customXml" Target="../ink/ink158.xml"/><Relationship Id="rId147" Type="http://schemas.openxmlformats.org/officeDocument/2006/relationships/image" Target="../media/image86.png"/><Relationship Id="rId168" Type="http://schemas.openxmlformats.org/officeDocument/2006/relationships/customXml" Target="../ink/ink179.xml"/><Relationship Id="rId8" Type="http://schemas.openxmlformats.org/officeDocument/2006/relationships/image" Target="../media/image180.png"/><Relationship Id="rId51" Type="http://schemas.openxmlformats.org/officeDocument/2006/relationships/customXml" Target="../ink/ink119.xml"/><Relationship Id="rId72" Type="http://schemas.openxmlformats.org/officeDocument/2006/relationships/image" Target="../media/image500.png"/><Relationship Id="rId93" Type="http://schemas.openxmlformats.org/officeDocument/2006/relationships/image" Target="../media/image600.png"/><Relationship Id="rId98" Type="http://schemas.openxmlformats.org/officeDocument/2006/relationships/customXml" Target="../ink/ink143.xml"/><Relationship Id="rId121" Type="http://schemas.openxmlformats.org/officeDocument/2006/relationships/image" Target="../media/image730.png"/><Relationship Id="rId142" Type="http://schemas.openxmlformats.org/officeDocument/2006/relationships/customXml" Target="../ink/ink166.xml"/><Relationship Id="rId163" Type="http://schemas.openxmlformats.org/officeDocument/2006/relationships/image" Target="../media/image94.png"/><Relationship Id="rId184" Type="http://schemas.openxmlformats.org/officeDocument/2006/relationships/customXml" Target="../ink/ink187.xml"/><Relationship Id="rId3" Type="http://schemas.openxmlformats.org/officeDocument/2006/relationships/image" Target="../media/image271.png"/><Relationship Id="rId25" Type="http://schemas.openxmlformats.org/officeDocument/2006/relationships/customXml" Target="../ink/ink106.xml"/><Relationship Id="rId46" Type="http://schemas.openxmlformats.org/officeDocument/2006/relationships/image" Target="../media/image370.png"/><Relationship Id="rId67" Type="http://schemas.openxmlformats.org/officeDocument/2006/relationships/customXml" Target="../ink/ink127.xml"/><Relationship Id="rId116" Type="http://schemas.openxmlformats.org/officeDocument/2006/relationships/customXml" Target="../ink/ink153.xml"/><Relationship Id="rId137" Type="http://schemas.openxmlformats.org/officeDocument/2006/relationships/image" Target="../media/image810.png"/><Relationship Id="rId158" Type="http://schemas.openxmlformats.org/officeDocument/2006/relationships/customXml" Target="../ink/ink174.xml"/><Relationship Id="rId20" Type="http://schemas.openxmlformats.org/officeDocument/2006/relationships/image" Target="../media/image240.png"/><Relationship Id="rId41" Type="http://schemas.openxmlformats.org/officeDocument/2006/relationships/customXml" Target="../ink/ink114.xml"/><Relationship Id="rId62" Type="http://schemas.openxmlformats.org/officeDocument/2006/relationships/image" Target="../media/image450.png"/><Relationship Id="rId83" Type="http://schemas.openxmlformats.org/officeDocument/2006/relationships/customXml" Target="../ink/ink135.xml"/><Relationship Id="rId88" Type="http://schemas.openxmlformats.org/officeDocument/2006/relationships/image" Target="../media/image580.png"/><Relationship Id="rId111" Type="http://schemas.openxmlformats.org/officeDocument/2006/relationships/image" Target="../media/image680.png"/><Relationship Id="rId132" Type="http://schemas.openxmlformats.org/officeDocument/2006/relationships/customXml" Target="../ink/ink161.xml"/><Relationship Id="rId153" Type="http://schemas.openxmlformats.org/officeDocument/2006/relationships/image" Target="../media/image89.png"/><Relationship Id="rId174" Type="http://schemas.openxmlformats.org/officeDocument/2006/relationships/customXml" Target="../ink/ink182.xml"/><Relationship Id="rId179" Type="http://schemas.openxmlformats.org/officeDocument/2006/relationships/image" Target="../media/image102.png"/><Relationship Id="rId15" Type="http://schemas.openxmlformats.org/officeDocument/2006/relationships/customXml" Target="../ink/ink101.xml"/><Relationship Id="rId36" Type="http://schemas.openxmlformats.org/officeDocument/2006/relationships/image" Target="../media/image320.png"/><Relationship Id="rId57" Type="http://schemas.openxmlformats.org/officeDocument/2006/relationships/customXml" Target="../ink/ink122.xml"/><Relationship Id="rId106" Type="http://schemas.openxmlformats.org/officeDocument/2006/relationships/customXml" Target="../ink/ink148.xml"/><Relationship Id="rId127" Type="http://schemas.openxmlformats.org/officeDocument/2006/relationships/image" Target="../media/image760.png"/><Relationship Id="rId10" Type="http://schemas.openxmlformats.org/officeDocument/2006/relationships/image" Target="../media/image190.png"/><Relationship Id="rId31" Type="http://schemas.openxmlformats.org/officeDocument/2006/relationships/customXml" Target="../ink/ink109.xml"/><Relationship Id="rId52" Type="http://schemas.openxmlformats.org/officeDocument/2006/relationships/image" Target="../media/image400.png"/><Relationship Id="rId73" Type="http://schemas.openxmlformats.org/officeDocument/2006/relationships/customXml" Target="../ink/ink130.xml"/><Relationship Id="rId78" Type="http://schemas.openxmlformats.org/officeDocument/2006/relationships/image" Target="../media/image530.png"/><Relationship Id="rId94" Type="http://schemas.openxmlformats.org/officeDocument/2006/relationships/customXml" Target="../ink/ink141.xml"/><Relationship Id="rId99" Type="http://schemas.openxmlformats.org/officeDocument/2006/relationships/image" Target="../media/image630.png"/><Relationship Id="rId101" Type="http://schemas.openxmlformats.org/officeDocument/2006/relationships/image" Target="../media/image640.png"/><Relationship Id="rId122" Type="http://schemas.openxmlformats.org/officeDocument/2006/relationships/customXml" Target="../ink/ink156.xml"/><Relationship Id="rId143" Type="http://schemas.openxmlformats.org/officeDocument/2006/relationships/image" Target="../media/image840.png"/><Relationship Id="rId148" Type="http://schemas.openxmlformats.org/officeDocument/2006/relationships/customXml" Target="../ink/ink169.xml"/><Relationship Id="rId164" Type="http://schemas.openxmlformats.org/officeDocument/2006/relationships/customXml" Target="../ink/ink177.xml"/><Relationship Id="rId169" Type="http://schemas.openxmlformats.org/officeDocument/2006/relationships/image" Target="../media/image97.png"/><Relationship Id="rId185" Type="http://schemas.openxmlformats.org/officeDocument/2006/relationships/image" Target="../media/image105.png"/><Relationship Id="rId4" Type="http://schemas.openxmlformats.org/officeDocument/2006/relationships/customXml" Target="../ink/ink97.xml"/><Relationship Id="rId9" Type="http://schemas.openxmlformats.org/officeDocument/2006/relationships/customXml" Target="../ink/ink98.xml"/><Relationship Id="rId180" Type="http://schemas.openxmlformats.org/officeDocument/2006/relationships/customXml" Target="../ink/ink185.xml"/><Relationship Id="rId26" Type="http://schemas.openxmlformats.org/officeDocument/2006/relationships/image" Target="../media/image270.png"/><Relationship Id="rId47" Type="http://schemas.openxmlformats.org/officeDocument/2006/relationships/customXml" Target="../ink/ink117.xml"/><Relationship Id="rId68" Type="http://schemas.openxmlformats.org/officeDocument/2006/relationships/image" Target="../media/image480.png"/><Relationship Id="rId89" Type="http://schemas.openxmlformats.org/officeDocument/2006/relationships/customXml" Target="../ink/ink138.xml"/><Relationship Id="rId112" Type="http://schemas.openxmlformats.org/officeDocument/2006/relationships/customXml" Target="../ink/ink151.xml"/><Relationship Id="rId133" Type="http://schemas.openxmlformats.org/officeDocument/2006/relationships/image" Target="../media/image790.png"/><Relationship Id="rId154" Type="http://schemas.openxmlformats.org/officeDocument/2006/relationships/customXml" Target="../ink/ink172.xml"/><Relationship Id="rId175" Type="http://schemas.openxmlformats.org/officeDocument/2006/relationships/image" Target="../media/image100.png"/><Relationship Id="rId16" Type="http://schemas.openxmlformats.org/officeDocument/2006/relationships/image" Target="../media/image220.png"/><Relationship Id="rId37" Type="http://schemas.openxmlformats.org/officeDocument/2006/relationships/customXml" Target="../ink/ink112.xml"/><Relationship Id="rId58" Type="http://schemas.openxmlformats.org/officeDocument/2006/relationships/image" Target="../media/image430.png"/><Relationship Id="rId79" Type="http://schemas.openxmlformats.org/officeDocument/2006/relationships/customXml" Target="../ink/ink133.xml"/><Relationship Id="rId102" Type="http://schemas.openxmlformats.org/officeDocument/2006/relationships/customXml" Target="../ink/ink145.xml"/><Relationship Id="rId123" Type="http://schemas.openxmlformats.org/officeDocument/2006/relationships/image" Target="../media/image740.png"/><Relationship Id="rId144" Type="http://schemas.openxmlformats.org/officeDocument/2006/relationships/customXml" Target="../ink/ink167.xml"/><Relationship Id="rId90" Type="http://schemas.openxmlformats.org/officeDocument/2006/relationships/customXml" Target="../ink/ink139.xml"/><Relationship Id="rId165" Type="http://schemas.openxmlformats.org/officeDocument/2006/relationships/image" Target="../media/image95.png"/><Relationship Id="rId186" Type="http://schemas.openxmlformats.org/officeDocument/2006/relationships/image" Target="../media/image281.png"/><Relationship Id="rId27" Type="http://schemas.openxmlformats.org/officeDocument/2006/relationships/customXml" Target="../ink/ink107.xml"/><Relationship Id="rId48" Type="http://schemas.openxmlformats.org/officeDocument/2006/relationships/image" Target="../media/image380.png"/><Relationship Id="rId69" Type="http://schemas.openxmlformats.org/officeDocument/2006/relationships/customXml" Target="../ink/ink128.xml"/><Relationship Id="rId113" Type="http://schemas.openxmlformats.org/officeDocument/2006/relationships/image" Target="../media/image690.png"/><Relationship Id="rId134" Type="http://schemas.openxmlformats.org/officeDocument/2006/relationships/customXml" Target="../ink/ink162.xml"/><Relationship Id="rId80" Type="http://schemas.openxmlformats.org/officeDocument/2006/relationships/image" Target="../media/image540.png"/><Relationship Id="rId155" Type="http://schemas.openxmlformats.org/officeDocument/2006/relationships/image" Target="../media/image90.png"/><Relationship Id="rId176" Type="http://schemas.openxmlformats.org/officeDocument/2006/relationships/customXml" Target="../ink/ink183.xml"/><Relationship Id="rId17" Type="http://schemas.openxmlformats.org/officeDocument/2006/relationships/customXml" Target="../ink/ink102.xml"/><Relationship Id="rId38" Type="http://schemas.openxmlformats.org/officeDocument/2006/relationships/image" Target="../media/image330.png"/><Relationship Id="rId59" Type="http://schemas.openxmlformats.org/officeDocument/2006/relationships/customXml" Target="../ink/ink123.xml"/><Relationship Id="rId103" Type="http://schemas.openxmlformats.org/officeDocument/2006/relationships/customXml" Target="../ink/ink146.xml"/><Relationship Id="rId124" Type="http://schemas.openxmlformats.org/officeDocument/2006/relationships/customXml" Target="../ink/ink157.xml"/><Relationship Id="rId70" Type="http://schemas.openxmlformats.org/officeDocument/2006/relationships/image" Target="../media/image490.png"/><Relationship Id="rId91" Type="http://schemas.openxmlformats.org/officeDocument/2006/relationships/image" Target="../media/image590.png"/><Relationship Id="rId145" Type="http://schemas.openxmlformats.org/officeDocument/2006/relationships/image" Target="../media/image850.png"/><Relationship Id="rId166" Type="http://schemas.openxmlformats.org/officeDocument/2006/relationships/customXml" Target="../ink/ink178.xml"/><Relationship Id="rId187" Type="http://schemas.openxmlformats.org/officeDocument/2006/relationships/image" Target="../media/image291.png"/><Relationship Id="rId1" Type="http://schemas.openxmlformats.org/officeDocument/2006/relationships/slideLayout" Target="../slideLayouts/slideLayout21.xml"/><Relationship Id="rId28" Type="http://schemas.openxmlformats.org/officeDocument/2006/relationships/image" Target="../media/image280.png"/><Relationship Id="rId49" Type="http://schemas.openxmlformats.org/officeDocument/2006/relationships/customXml" Target="../ink/ink118.xml"/><Relationship Id="rId114" Type="http://schemas.openxmlformats.org/officeDocument/2006/relationships/customXml" Target="../ink/ink152.xml"/><Relationship Id="rId60" Type="http://schemas.openxmlformats.org/officeDocument/2006/relationships/image" Target="../media/image440.png"/><Relationship Id="rId81" Type="http://schemas.openxmlformats.org/officeDocument/2006/relationships/customXml" Target="../ink/ink134.xml"/><Relationship Id="rId135" Type="http://schemas.openxmlformats.org/officeDocument/2006/relationships/image" Target="../media/image800.png"/><Relationship Id="rId156" Type="http://schemas.openxmlformats.org/officeDocument/2006/relationships/customXml" Target="../ink/ink173.xml"/><Relationship Id="rId177" Type="http://schemas.openxmlformats.org/officeDocument/2006/relationships/image" Target="../media/image10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0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0.png"/><Relationship Id="rId13" Type="http://schemas.openxmlformats.org/officeDocument/2006/relationships/customXml" Target="../ink/ink192.xml"/><Relationship Id="rId3" Type="http://schemas.openxmlformats.org/officeDocument/2006/relationships/image" Target="../media/image111.png"/><Relationship Id="rId7" Type="http://schemas.openxmlformats.org/officeDocument/2006/relationships/customXml" Target="../ink/ink189.xml"/><Relationship Id="rId12" Type="http://schemas.openxmlformats.org/officeDocument/2006/relationships/image" Target="../media/image121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0.png"/><Relationship Id="rId11" Type="http://schemas.openxmlformats.org/officeDocument/2006/relationships/customXml" Target="../ink/ink191.xml"/><Relationship Id="rId15" Type="http://schemas.openxmlformats.org/officeDocument/2006/relationships/customXml" Target="../ink/ink193.xml"/><Relationship Id="rId10" Type="http://schemas.openxmlformats.org/officeDocument/2006/relationships/image" Target="../media/image1150.png"/><Relationship Id="rId4" Type="http://schemas.openxmlformats.org/officeDocument/2006/relationships/customXml" Target="../ink/ink188.xml"/><Relationship Id="rId9" Type="http://schemas.openxmlformats.org/officeDocument/2006/relationships/customXml" Target="../ink/ink190.xml"/><Relationship Id="rId14" Type="http://schemas.openxmlformats.org/officeDocument/2006/relationships/image" Target="../media/image1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hyperlink" Target="https://earth.nullschool.net/#current/ocean/surface/currents/orthographic=-53.45,15.81,1332/loc=-61.075,10.136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5.svg"/><Relationship Id="rId5" Type="http://schemas.openxmlformats.org/officeDocument/2006/relationships/image" Target="../media/image114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1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6.png"/><Relationship Id="rId21" Type="http://schemas.openxmlformats.org/officeDocument/2006/relationships/customXml" Target="../ink/ink9.xml"/><Relationship Id="rId42" Type="http://schemas.openxmlformats.org/officeDocument/2006/relationships/image" Target="../media/image44.png"/><Relationship Id="rId47" Type="http://schemas.openxmlformats.org/officeDocument/2006/relationships/customXml" Target="../ink/ink22.xml"/><Relationship Id="rId63" Type="http://schemas.openxmlformats.org/officeDocument/2006/relationships/customXml" Target="../ink/ink30.xml"/><Relationship Id="rId68" Type="http://schemas.openxmlformats.org/officeDocument/2006/relationships/image" Target="../media/image57.png"/><Relationship Id="rId84" Type="http://schemas.openxmlformats.org/officeDocument/2006/relationships/image" Target="../media/image65.png"/><Relationship Id="rId89" Type="http://schemas.openxmlformats.org/officeDocument/2006/relationships/customXml" Target="../ink/ink43.xml"/><Relationship Id="rId16" Type="http://schemas.openxmlformats.org/officeDocument/2006/relationships/image" Target="../media/image31.png"/><Relationship Id="rId11" Type="http://schemas.openxmlformats.org/officeDocument/2006/relationships/customXml" Target="../ink/ink4.xml"/><Relationship Id="rId32" Type="http://schemas.openxmlformats.org/officeDocument/2006/relationships/image" Target="../media/image39.png"/><Relationship Id="rId37" Type="http://schemas.openxmlformats.org/officeDocument/2006/relationships/customXml" Target="../ink/ink17.xml"/><Relationship Id="rId53" Type="http://schemas.openxmlformats.org/officeDocument/2006/relationships/customXml" Target="../ink/ink25.xml"/><Relationship Id="rId58" Type="http://schemas.openxmlformats.org/officeDocument/2006/relationships/image" Target="../media/image52.png"/><Relationship Id="rId74" Type="http://schemas.openxmlformats.org/officeDocument/2006/relationships/image" Target="../media/image60.png"/><Relationship Id="rId79" Type="http://schemas.openxmlformats.org/officeDocument/2006/relationships/customXml" Target="../ink/ink38.xml"/><Relationship Id="rId5" Type="http://schemas.openxmlformats.org/officeDocument/2006/relationships/customXml" Target="../ink/ink1.xml"/><Relationship Id="rId90" Type="http://schemas.openxmlformats.org/officeDocument/2006/relationships/image" Target="../media/image68.png"/><Relationship Id="rId22" Type="http://schemas.openxmlformats.org/officeDocument/2006/relationships/image" Target="../media/image34.png"/><Relationship Id="rId27" Type="http://schemas.openxmlformats.org/officeDocument/2006/relationships/customXml" Target="../ink/ink12.xml"/><Relationship Id="rId43" Type="http://schemas.openxmlformats.org/officeDocument/2006/relationships/customXml" Target="../ink/ink20.xml"/><Relationship Id="rId48" Type="http://schemas.openxmlformats.org/officeDocument/2006/relationships/image" Target="../media/image47.png"/><Relationship Id="rId64" Type="http://schemas.openxmlformats.org/officeDocument/2006/relationships/image" Target="../media/image55.png"/><Relationship Id="rId69" Type="http://schemas.openxmlformats.org/officeDocument/2006/relationships/customXml" Target="../ink/ink33.xml"/><Relationship Id="rId8" Type="http://schemas.openxmlformats.org/officeDocument/2006/relationships/image" Target="../media/image27.png"/><Relationship Id="rId51" Type="http://schemas.openxmlformats.org/officeDocument/2006/relationships/customXml" Target="../ink/ink24.xml"/><Relationship Id="rId72" Type="http://schemas.openxmlformats.org/officeDocument/2006/relationships/image" Target="../media/image59.png"/><Relationship Id="rId80" Type="http://schemas.openxmlformats.org/officeDocument/2006/relationships/image" Target="../media/image63.png"/><Relationship Id="rId85" Type="http://schemas.openxmlformats.org/officeDocument/2006/relationships/customXml" Target="../ink/ink41.xml"/><Relationship Id="rId93" Type="http://schemas.openxmlformats.org/officeDocument/2006/relationships/customXml" Target="../ink/ink45.xml"/><Relationship Id="rId3" Type="http://schemas.openxmlformats.org/officeDocument/2006/relationships/image" Target="../media/image23.jpg"/><Relationship Id="rId12" Type="http://schemas.openxmlformats.org/officeDocument/2006/relationships/image" Target="../media/image29.png"/><Relationship Id="rId17" Type="http://schemas.openxmlformats.org/officeDocument/2006/relationships/customXml" Target="../ink/ink7.xml"/><Relationship Id="rId25" Type="http://schemas.openxmlformats.org/officeDocument/2006/relationships/customXml" Target="../ink/ink11.xml"/><Relationship Id="rId33" Type="http://schemas.openxmlformats.org/officeDocument/2006/relationships/customXml" Target="../ink/ink15.xml"/><Relationship Id="rId38" Type="http://schemas.openxmlformats.org/officeDocument/2006/relationships/image" Target="../media/image42.png"/><Relationship Id="rId46" Type="http://schemas.openxmlformats.org/officeDocument/2006/relationships/image" Target="../media/image46.png"/><Relationship Id="rId59" Type="http://schemas.openxmlformats.org/officeDocument/2006/relationships/customXml" Target="../ink/ink28.xml"/><Relationship Id="rId67" Type="http://schemas.openxmlformats.org/officeDocument/2006/relationships/customXml" Target="../ink/ink32.xml"/><Relationship Id="rId20" Type="http://schemas.openxmlformats.org/officeDocument/2006/relationships/image" Target="../media/image33.png"/><Relationship Id="rId41" Type="http://schemas.openxmlformats.org/officeDocument/2006/relationships/customXml" Target="../ink/ink19.xml"/><Relationship Id="rId54" Type="http://schemas.openxmlformats.org/officeDocument/2006/relationships/image" Target="../media/image50.png"/><Relationship Id="rId62" Type="http://schemas.openxmlformats.org/officeDocument/2006/relationships/image" Target="../media/image54.png"/><Relationship Id="rId70" Type="http://schemas.openxmlformats.org/officeDocument/2006/relationships/image" Target="../media/image58.png"/><Relationship Id="rId75" Type="http://schemas.openxmlformats.org/officeDocument/2006/relationships/customXml" Target="../ink/ink36.xml"/><Relationship Id="rId83" Type="http://schemas.openxmlformats.org/officeDocument/2006/relationships/customXml" Target="../ink/ink40.xml"/><Relationship Id="rId88" Type="http://schemas.openxmlformats.org/officeDocument/2006/relationships/image" Target="../media/image67.png"/><Relationship Id="rId91" Type="http://schemas.openxmlformats.org/officeDocument/2006/relationships/customXml" Target="../ink/ink4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5" Type="http://schemas.openxmlformats.org/officeDocument/2006/relationships/customXml" Target="../ink/ink6.xml"/><Relationship Id="rId23" Type="http://schemas.openxmlformats.org/officeDocument/2006/relationships/customXml" Target="../ink/ink10.xml"/><Relationship Id="rId28" Type="http://schemas.openxmlformats.org/officeDocument/2006/relationships/image" Target="../media/image37.png"/><Relationship Id="rId36" Type="http://schemas.openxmlformats.org/officeDocument/2006/relationships/image" Target="../media/image41.png"/><Relationship Id="rId49" Type="http://schemas.openxmlformats.org/officeDocument/2006/relationships/customXml" Target="../ink/ink23.xml"/><Relationship Id="rId57" Type="http://schemas.openxmlformats.org/officeDocument/2006/relationships/customXml" Target="../ink/ink27.xml"/><Relationship Id="rId10" Type="http://schemas.openxmlformats.org/officeDocument/2006/relationships/image" Target="../media/image28.png"/><Relationship Id="rId31" Type="http://schemas.openxmlformats.org/officeDocument/2006/relationships/customXml" Target="../ink/ink14.xml"/><Relationship Id="rId44" Type="http://schemas.openxmlformats.org/officeDocument/2006/relationships/image" Target="../media/image45.png"/><Relationship Id="rId52" Type="http://schemas.openxmlformats.org/officeDocument/2006/relationships/image" Target="../media/image49.png"/><Relationship Id="rId60" Type="http://schemas.openxmlformats.org/officeDocument/2006/relationships/image" Target="../media/image53.png"/><Relationship Id="rId65" Type="http://schemas.openxmlformats.org/officeDocument/2006/relationships/customXml" Target="../ink/ink31.xml"/><Relationship Id="rId73" Type="http://schemas.openxmlformats.org/officeDocument/2006/relationships/customXml" Target="../ink/ink35.xml"/><Relationship Id="rId78" Type="http://schemas.openxmlformats.org/officeDocument/2006/relationships/image" Target="../media/image62.png"/><Relationship Id="rId81" Type="http://schemas.openxmlformats.org/officeDocument/2006/relationships/customXml" Target="../ink/ink39.xml"/><Relationship Id="rId86" Type="http://schemas.openxmlformats.org/officeDocument/2006/relationships/image" Target="../media/image66.png"/><Relationship Id="rId94" Type="http://schemas.openxmlformats.org/officeDocument/2006/relationships/image" Target="../media/image70.png"/><Relationship Id="rId4" Type="http://schemas.openxmlformats.org/officeDocument/2006/relationships/image" Target="../media/image25.png"/><Relationship Id="rId9" Type="http://schemas.openxmlformats.org/officeDocument/2006/relationships/customXml" Target="../ink/ink3.xml"/><Relationship Id="rId13" Type="http://schemas.openxmlformats.org/officeDocument/2006/relationships/customXml" Target="../ink/ink5.xml"/><Relationship Id="rId18" Type="http://schemas.openxmlformats.org/officeDocument/2006/relationships/image" Target="../media/image32.png"/><Relationship Id="rId39" Type="http://schemas.openxmlformats.org/officeDocument/2006/relationships/customXml" Target="../ink/ink18.xml"/><Relationship Id="rId34" Type="http://schemas.openxmlformats.org/officeDocument/2006/relationships/image" Target="../media/image40.png"/><Relationship Id="rId50" Type="http://schemas.openxmlformats.org/officeDocument/2006/relationships/image" Target="../media/image48.png"/><Relationship Id="rId55" Type="http://schemas.openxmlformats.org/officeDocument/2006/relationships/customXml" Target="../ink/ink26.xml"/><Relationship Id="rId76" Type="http://schemas.openxmlformats.org/officeDocument/2006/relationships/image" Target="../media/image61.png"/><Relationship Id="rId7" Type="http://schemas.openxmlformats.org/officeDocument/2006/relationships/customXml" Target="../ink/ink2.xml"/><Relationship Id="rId71" Type="http://schemas.openxmlformats.org/officeDocument/2006/relationships/customXml" Target="../ink/ink34.xml"/><Relationship Id="rId92" Type="http://schemas.openxmlformats.org/officeDocument/2006/relationships/image" Target="../media/image69.png"/><Relationship Id="rId2" Type="http://schemas.openxmlformats.org/officeDocument/2006/relationships/notesSlide" Target="../notesSlides/notesSlide1.xml"/><Relationship Id="rId29" Type="http://schemas.openxmlformats.org/officeDocument/2006/relationships/customXml" Target="../ink/ink13.xml"/><Relationship Id="rId24" Type="http://schemas.openxmlformats.org/officeDocument/2006/relationships/image" Target="../media/image35.png"/><Relationship Id="rId40" Type="http://schemas.openxmlformats.org/officeDocument/2006/relationships/image" Target="../media/image43.png"/><Relationship Id="rId45" Type="http://schemas.openxmlformats.org/officeDocument/2006/relationships/customXml" Target="../ink/ink21.xml"/><Relationship Id="rId66" Type="http://schemas.openxmlformats.org/officeDocument/2006/relationships/image" Target="../media/image56.png"/><Relationship Id="rId87" Type="http://schemas.openxmlformats.org/officeDocument/2006/relationships/customXml" Target="../ink/ink42.xml"/><Relationship Id="rId61" Type="http://schemas.openxmlformats.org/officeDocument/2006/relationships/customXml" Target="../ink/ink29.xml"/><Relationship Id="rId82" Type="http://schemas.openxmlformats.org/officeDocument/2006/relationships/image" Target="../media/image64.png"/><Relationship Id="rId19" Type="http://schemas.openxmlformats.org/officeDocument/2006/relationships/customXml" Target="../ink/ink8.xml"/><Relationship Id="rId14" Type="http://schemas.openxmlformats.org/officeDocument/2006/relationships/image" Target="../media/image30.png"/><Relationship Id="rId30" Type="http://schemas.openxmlformats.org/officeDocument/2006/relationships/image" Target="../media/image38.png"/><Relationship Id="rId35" Type="http://schemas.openxmlformats.org/officeDocument/2006/relationships/customXml" Target="../ink/ink16.xml"/><Relationship Id="rId56" Type="http://schemas.openxmlformats.org/officeDocument/2006/relationships/image" Target="../media/image51.png"/><Relationship Id="rId77" Type="http://schemas.openxmlformats.org/officeDocument/2006/relationships/customXml" Target="../ink/ink3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customXml" Target="../ink/ink57.xml"/><Relationship Id="rId21" Type="http://schemas.openxmlformats.org/officeDocument/2006/relationships/image" Target="../media/image351.png"/><Relationship Id="rId42" Type="http://schemas.openxmlformats.org/officeDocument/2006/relationships/customXml" Target="../ink/ink65.xml"/><Relationship Id="rId47" Type="http://schemas.openxmlformats.org/officeDocument/2006/relationships/image" Target="../media/image481.png"/><Relationship Id="rId63" Type="http://schemas.openxmlformats.org/officeDocument/2006/relationships/image" Target="../media/image561.png"/><Relationship Id="rId68" Type="http://schemas.openxmlformats.org/officeDocument/2006/relationships/customXml" Target="../ink/ink78.xml"/><Relationship Id="rId84" Type="http://schemas.openxmlformats.org/officeDocument/2006/relationships/customXml" Target="../ink/ink86.xml"/><Relationship Id="rId89" Type="http://schemas.openxmlformats.org/officeDocument/2006/relationships/image" Target="../media/image691.png"/><Relationship Id="rId16" Type="http://schemas.openxmlformats.org/officeDocument/2006/relationships/customXml" Target="../ink/ink52.xml"/><Relationship Id="rId11" Type="http://schemas.openxmlformats.org/officeDocument/2006/relationships/image" Target="../media/image302.png"/><Relationship Id="rId32" Type="http://schemas.openxmlformats.org/officeDocument/2006/relationships/customXml" Target="../ink/ink60.xml"/><Relationship Id="rId37" Type="http://schemas.openxmlformats.org/officeDocument/2006/relationships/image" Target="../media/image431.png"/><Relationship Id="rId53" Type="http://schemas.openxmlformats.org/officeDocument/2006/relationships/image" Target="../media/image512.png"/><Relationship Id="rId58" Type="http://schemas.openxmlformats.org/officeDocument/2006/relationships/customXml" Target="../ink/ink73.xml"/><Relationship Id="rId74" Type="http://schemas.openxmlformats.org/officeDocument/2006/relationships/customXml" Target="../ink/ink81.xml"/><Relationship Id="rId79" Type="http://schemas.openxmlformats.org/officeDocument/2006/relationships/image" Target="../media/image641.png"/><Relationship Id="rId102" Type="http://schemas.openxmlformats.org/officeDocument/2006/relationships/customXml" Target="../ink/ink94.xml"/><Relationship Id="rId5" Type="http://schemas.openxmlformats.org/officeDocument/2006/relationships/image" Target="../media/image272.png"/><Relationship Id="rId90" Type="http://schemas.openxmlformats.org/officeDocument/2006/relationships/customXml" Target="../ink/ink89.xml"/><Relationship Id="rId95" Type="http://schemas.openxmlformats.org/officeDocument/2006/relationships/image" Target="../media/image72.png"/><Relationship Id="rId22" Type="http://schemas.openxmlformats.org/officeDocument/2006/relationships/customXml" Target="../ink/ink55.xml"/><Relationship Id="rId27" Type="http://schemas.openxmlformats.org/officeDocument/2006/relationships/image" Target="../media/image381.png"/><Relationship Id="rId43" Type="http://schemas.openxmlformats.org/officeDocument/2006/relationships/image" Target="../media/image461.png"/><Relationship Id="rId48" Type="http://schemas.openxmlformats.org/officeDocument/2006/relationships/customXml" Target="../ink/ink68.xml"/><Relationship Id="rId64" Type="http://schemas.openxmlformats.org/officeDocument/2006/relationships/customXml" Target="../ink/ink76.xml"/><Relationship Id="rId69" Type="http://schemas.openxmlformats.org/officeDocument/2006/relationships/image" Target="../media/image591.png"/><Relationship Id="rId80" Type="http://schemas.openxmlformats.org/officeDocument/2006/relationships/customXml" Target="../ink/ink84.xml"/><Relationship Id="rId85" Type="http://schemas.openxmlformats.org/officeDocument/2006/relationships/image" Target="../media/image671.png"/><Relationship Id="rId12" Type="http://schemas.openxmlformats.org/officeDocument/2006/relationships/customXml" Target="../ink/ink50.xml"/><Relationship Id="rId17" Type="http://schemas.openxmlformats.org/officeDocument/2006/relationships/image" Target="../media/image331.png"/><Relationship Id="rId33" Type="http://schemas.openxmlformats.org/officeDocument/2006/relationships/image" Target="../media/image411.png"/><Relationship Id="rId38" Type="http://schemas.openxmlformats.org/officeDocument/2006/relationships/customXml" Target="../ink/ink63.xml"/><Relationship Id="rId59" Type="http://schemas.openxmlformats.org/officeDocument/2006/relationships/image" Target="../media/image541.png"/><Relationship Id="rId103" Type="http://schemas.openxmlformats.org/officeDocument/2006/relationships/image" Target="../media/image77.png"/><Relationship Id="rId20" Type="http://schemas.openxmlformats.org/officeDocument/2006/relationships/customXml" Target="../ink/ink54.xml"/><Relationship Id="rId41" Type="http://schemas.openxmlformats.org/officeDocument/2006/relationships/image" Target="../media/image451.png"/><Relationship Id="rId54" Type="http://schemas.openxmlformats.org/officeDocument/2006/relationships/customXml" Target="../ink/ink71.xml"/><Relationship Id="rId62" Type="http://schemas.openxmlformats.org/officeDocument/2006/relationships/customXml" Target="../ink/ink75.xml"/><Relationship Id="rId70" Type="http://schemas.openxmlformats.org/officeDocument/2006/relationships/customXml" Target="../ink/ink79.xml"/><Relationship Id="rId75" Type="http://schemas.openxmlformats.org/officeDocument/2006/relationships/image" Target="../media/image621.png"/><Relationship Id="rId83" Type="http://schemas.openxmlformats.org/officeDocument/2006/relationships/image" Target="../media/image661.png"/><Relationship Id="rId88" Type="http://schemas.openxmlformats.org/officeDocument/2006/relationships/customXml" Target="../ink/ink88.xml"/><Relationship Id="rId91" Type="http://schemas.openxmlformats.org/officeDocument/2006/relationships/image" Target="../media/image701.png"/><Relationship Id="rId96" Type="http://schemas.openxmlformats.org/officeDocument/2006/relationships/customXml" Target="../ink/ink92.xml"/><Relationship Id="rId1" Type="http://schemas.openxmlformats.org/officeDocument/2006/relationships/slideLayout" Target="../slideLayouts/slideLayout21.xml"/><Relationship Id="rId6" Type="http://schemas.openxmlformats.org/officeDocument/2006/relationships/customXml" Target="../ink/ink47.xml"/><Relationship Id="rId15" Type="http://schemas.openxmlformats.org/officeDocument/2006/relationships/image" Target="../media/image321.png"/><Relationship Id="rId23" Type="http://schemas.openxmlformats.org/officeDocument/2006/relationships/image" Target="../media/image361.png"/><Relationship Id="rId28" Type="http://schemas.openxmlformats.org/officeDocument/2006/relationships/customXml" Target="../ink/ink58.xml"/><Relationship Id="rId36" Type="http://schemas.openxmlformats.org/officeDocument/2006/relationships/customXml" Target="../ink/ink62.xml"/><Relationship Id="rId49" Type="http://schemas.openxmlformats.org/officeDocument/2006/relationships/image" Target="../media/image491.png"/><Relationship Id="rId57" Type="http://schemas.openxmlformats.org/officeDocument/2006/relationships/image" Target="../media/image531.png"/><Relationship Id="rId10" Type="http://schemas.openxmlformats.org/officeDocument/2006/relationships/customXml" Target="../ink/ink49.xml"/><Relationship Id="rId31" Type="http://schemas.openxmlformats.org/officeDocument/2006/relationships/image" Target="../media/image401.png"/><Relationship Id="rId44" Type="http://schemas.openxmlformats.org/officeDocument/2006/relationships/customXml" Target="../ink/ink66.xml"/><Relationship Id="rId52" Type="http://schemas.openxmlformats.org/officeDocument/2006/relationships/customXml" Target="../ink/ink70.xml"/><Relationship Id="rId60" Type="http://schemas.openxmlformats.org/officeDocument/2006/relationships/customXml" Target="../ink/ink74.xml"/><Relationship Id="rId65" Type="http://schemas.openxmlformats.org/officeDocument/2006/relationships/image" Target="../media/image571.png"/><Relationship Id="rId73" Type="http://schemas.openxmlformats.org/officeDocument/2006/relationships/image" Target="../media/image611.png"/><Relationship Id="rId78" Type="http://schemas.openxmlformats.org/officeDocument/2006/relationships/customXml" Target="../ink/ink83.xml"/><Relationship Id="rId81" Type="http://schemas.openxmlformats.org/officeDocument/2006/relationships/image" Target="../media/image651.png"/><Relationship Id="rId86" Type="http://schemas.openxmlformats.org/officeDocument/2006/relationships/customXml" Target="../ink/ink87.xml"/><Relationship Id="rId94" Type="http://schemas.openxmlformats.org/officeDocument/2006/relationships/customXml" Target="../ink/ink91.xml"/><Relationship Id="rId99" Type="http://schemas.openxmlformats.org/officeDocument/2006/relationships/image" Target="../media/image74.png"/><Relationship Id="rId101" Type="http://schemas.openxmlformats.org/officeDocument/2006/relationships/image" Target="../media/image76.png"/><Relationship Id="rId4" Type="http://schemas.openxmlformats.org/officeDocument/2006/relationships/customXml" Target="../ink/ink46.xml"/><Relationship Id="rId9" Type="http://schemas.openxmlformats.org/officeDocument/2006/relationships/image" Target="../media/image292.png"/><Relationship Id="rId13" Type="http://schemas.openxmlformats.org/officeDocument/2006/relationships/image" Target="../media/image311.png"/><Relationship Id="rId18" Type="http://schemas.openxmlformats.org/officeDocument/2006/relationships/customXml" Target="../ink/ink53.xml"/><Relationship Id="rId39" Type="http://schemas.openxmlformats.org/officeDocument/2006/relationships/image" Target="../media/image441.png"/><Relationship Id="rId34" Type="http://schemas.openxmlformats.org/officeDocument/2006/relationships/customXml" Target="../ink/ink61.xml"/><Relationship Id="rId50" Type="http://schemas.openxmlformats.org/officeDocument/2006/relationships/customXml" Target="../ink/ink69.xml"/><Relationship Id="rId55" Type="http://schemas.openxmlformats.org/officeDocument/2006/relationships/image" Target="../media/image521.png"/><Relationship Id="rId76" Type="http://schemas.openxmlformats.org/officeDocument/2006/relationships/customXml" Target="../ink/ink82.xml"/><Relationship Id="rId97" Type="http://schemas.openxmlformats.org/officeDocument/2006/relationships/image" Target="../media/image73.png"/><Relationship Id="rId104" Type="http://schemas.openxmlformats.org/officeDocument/2006/relationships/customXml" Target="../ink/ink95.xml"/><Relationship Id="rId7" Type="http://schemas.openxmlformats.org/officeDocument/2006/relationships/image" Target="../media/image282.png"/><Relationship Id="rId71" Type="http://schemas.openxmlformats.org/officeDocument/2006/relationships/image" Target="../media/image601.png"/><Relationship Id="rId92" Type="http://schemas.openxmlformats.org/officeDocument/2006/relationships/customXml" Target="../ink/ink90.xml"/><Relationship Id="rId2" Type="http://schemas.openxmlformats.org/officeDocument/2006/relationships/image" Target="../media/image251.png"/><Relationship Id="rId29" Type="http://schemas.openxmlformats.org/officeDocument/2006/relationships/image" Target="../media/image391.png"/><Relationship Id="rId24" Type="http://schemas.openxmlformats.org/officeDocument/2006/relationships/customXml" Target="../ink/ink56.xml"/><Relationship Id="rId40" Type="http://schemas.openxmlformats.org/officeDocument/2006/relationships/customXml" Target="../ink/ink64.xml"/><Relationship Id="rId45" Type="http://schemas.openxmlformats.org/officeDocument/2006/relationships/image" Target="../media/image471.png"/><Relationship Id="rId66" Type="http://schemas.openxmlformats.org/officeDocument/2006/relationships/customXml" Target="../ink/ink77.xml"/><Relationship Id="rId87" Type="http://schemas.openxmlformats.org/officeDocument/2006/relationships/image" Target="../media/image681.png"/><Relationship Id="rId61" Type="http://schemas.openxmlformats.org/officeDocument/2006/relationships/image" Target="../media/image551.png"/><Relationship Id="rId82" Type="http://schemas.openxmlformats.org/officeDocument/2006/relationships/customXml" Target="../ink/ink85.xml"/><Relationship Id="rId19" Type="http://schemas.openxmlformats.org/officeDocument/2006/relationships/image" Target="../media/image341.png"/><Relationship Id="rId14" Type="http://schemas.openxmlformats.org/officeDocument/2006/relationships/customXml" Target="../ink/ink51.xml"/><Relationship Id="rId30" Type="http://schemas.openxmlformats.org/officeDocument/2006/relationships/customXml" Target="../ink/ink59.xml"/><Relationship Id="rId35" Type="http://schemas.openxmlformats.org/officeDocument/2006/relationships/image" Target="../media/image421.png"/><Relationship Id="rId56" Type="http://schemas.openxmlformats.org/officeDocument/2006/relationships/customXml" Target="../ink/ink72.xml"/><Relationship Id="rId77" Type="http://schemas.openxmlformats.org/officeDocument/2006/relationships/image" Target="../media/image631.png"/><Relationship Id="rId100" Type="http://schemas.openxmlformats.org/officeDocument/2006/relationships/image" Target="../media/image75.png"/><Relationship Id="rId105" Type="http://schemas.openxmlformats.org/officeDocument/2006/relationships/image" Target="../media/image78.png"/><Relationship Id="rId8" Type="http://schemas.openxmlformats.org/officeDocument/2006/relationships/customXml" Target="../ink/ink48.xml"/><Relationship Id="rId51" Type="http://schemas.openxmlformats.org/officeDocument/2006/relationships/image" Target="../media/image501.png"/><Relationship Id="rId72" Type="http://schemas.openxmlformats.org/officeDocument/2006/relationships/customXml" Target="../ink/ink80.xml"/><Relationship Id="rId93" Type="http://schemas.openxmlformats.org/officeDocument/2006/relationships/image" Target="../media/image71.png"/><Relationship Id="rId98" Type="http://schemas.openxmlformats.org/officeDocument/2006/relationships/customXml" Target="../ink/ink93.xml"/><Relationship Id="rId3" Type="http://schemas.openxmlformats.org/officeDocument/2006/relationships/image" Target="../media/image261.png"/><Relationship Id="rId25" Type="http://schemas.openxmlformats.org/officeDocument/2006/relationships/image" Target="../media/image371.png"/><Relationship Id="rId46" Type="http://schemas.openxmlformats.org/officeDocument/2006/relationships/customXml" Target="../ink/ink67.xml"/><Relationship Id="rId67" Type="http://schemas.openxmlformats.org/officeDocument/2006/relationships/image" Target="../media/image58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2.png"/><Relationship Id="rId5" Type="http://schemas.openxmlformats.org/officeDocument/2006/relationships/image" Target="../media/image83.png"/><Relationship Id="rId4" Type="http://schemas.openxmlformats.org/officeDocument/2006/relationships/image" Target="../media/image8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022820EC-FD57-544C-A58C-9B7BFE321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360038"/>
            <a:ext cx="9144000" cy="2160000"/>
          </a:xfrm>
        </p:spPr>
        <p:txBody>
          <a:bodyPr/>
          <a:lstStyle/>
          <a:p>
            <a:r>
              <a:rPr lang="de-DE" i="1" dirty="0" err="1"/>
              <a:t>Candidate</a:t>
            </a:r>
            <a:r>
              <a:rPr lang="de-DE" dirty="0"/>
              <a:t>:  Alessandro Storer </a:t>
            </a:r>
          </a:p>
          <a:p>
            <a:r>
              <a:rPr lang="de-DE" i="1" dirty="0"/>
              <a:t>Panel</a:t>
            </a:r>
            <a:r>
              <a:rPr lang="de-DE" dirty="0"/>
              <a:t>: Hans Segura, Juan Pedro </a:t>
            </a:r>
            <a:r>
              <a:rPr lang="de-DE" dirty="0" err="1"/>
              <a:t>Mellado</a:t>
            </a:r>
            <a:endParaRPr lang="de-DE" i="1" dirty="0"/>
          </a:p>
          <a:p>
            <a:r>
              <a:rPr lang="de-DE" i="1" dirty="0" err="1"/>
              <a:t>Expected</a:t>
            </a:r>
            <a:r>
              <a:rPr lang="de-DE" i="1" dirty="0"/>
              <a:t> PhD </a:t>
            </a:r>
            <a:r>
              <a:rPr lang="de-DE" i="1" dirty="0" err="1"/>
              <a:t>mandate</a:t>
            </a:r>
            <a:r>
              <a:rPr lang="de-DE" dirty="0"/>
              <a:t>: September 2025 – September 2028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2A5D859D-A8C1-8B98-0744-C186EA5CDF9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82875" y="2359764"/>
            <a:ext cx="9001125" cy="1333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role of surface turbulent fluxes</a:t>
            </a:r>
            <a:br>
              <a:rPr lang="en-GB" dirty="0"/>
            </a:br>
            <a:r>
              <a:rPr lang="en-GB" dirty="0"/>
              <a:t>in air-sea INTERACTIONS:</a:t>
            </a:r>
            <a:br>
              <a:rPr lang="en-GB" dirty="0"/>
            </a:br>
            <a:r>
              <a:rPr lang="en-GB" dirty="0"/>
              <a:t>Boundary layer – convection coupling across the tropical oceans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1857041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3F12C-7786-820C-2A15-2CBDC57ED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B82685-1674-2F00-1463-3FDAAAEE4957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CC60AEC6-9EF1-F9D8-4326-F9DBBAE04D3A}"/>
              </a:ext>
            </a:extLst>
          </p:cNvPr>
          <p:cNvCxnSpPr>
            <a:cxnSpLocks/>
          </p:cNvCxnSpPr>
          <p:nvPr/>
        </p:nvCxnSpPr>
        <p:spPr>
          <a:xfrm flipH="1" flipV="1">
            <a:off x="1634949" y="3361297"/>
            <a:ext cx="11866" cy="28957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C0BF875B-4704-96E6-F7F9-4F493593342F}"/>
              </a:ext>
            </a:extLst>
          </p:cNvPr>
          <p:cNvCxnSpPr>
            <a:cxnSpLocks/>
          </p:cNvCxnSpPr>
          <p:nvPr/>
        </p:nvCxnSpPr>
        <p:spPr>
          <a:xfrm>
            <a:off x="156801" y="4919862"/>
            <a:ext cx="29058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14:cNvPr>
              <p14:cNvContentPartPr/>
              <p14:nvPr/>
            </p14:nvContentPartPr>
            <p14:xfrm>
              <a:off x="1537104" y="3482258"/>
              <a:ext cx="360" cy="360"/>
            </p14:xfrm>
          </p:contentPart>
        </mc:Choice>
        <mc:Fallback xmlns="">
          <p:pic>
            <p:nvPicPr>
              <p:cNvPr id="30" name="Input penna 29">
                <a:extLst>
                  <a:ext uri="{FF2B5EF4-FFF2-40B4-BE49-F238E27FC236}">
                    <a16:creationId xmlns:a16="http://schemas.microsoft.com/office/drawing/2014/main" id="{B009CB2B-63E9-AAAB-A1EB-8C374444892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19104" y="3464258"/>
                <a:ext cx="36000" cy="3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E82A5F14-790C-B0F6-B958-ABBF98DDD5D6}"/>
              </a:ext>
            </a:extLst>
          </p:cNvPr>
          <p:cNvGrpSpPr/>
          <p:nvPr/>
        </p:nvGrpSpPr>
        <p:grpSpPr>
          <a:xfrm>
            <a:off x="786504" y="3917138"/>
            <a:ext cx="1562760" cy="1821240"/>
            <a:chOff x="958657" y="2045276"/>
            <a:chExt cx="1562760" cy="18212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14:cNvPr>
                <p14:cNvContentPartPr/>
                <p14:nvPr/>
              </p14:nvContentPartPr>
              <p14:xfrm>
                <a:off x="2306137" y="2076596"/>
                <a:ext cx="7920" cy="37440"/>
              </p14:xfrm>
            </p:contentPart>
          </mc:Choice>
          <mc:Fallback xmlns="">
            <p:pic>
              <p:nvPicPr>
                <p:cNvPr id="36" name="Input penna 35">
                  <a:extLst>
                    <a:ext uri="{FF2B5EF4-FFF2-40B4-BE49-F238E27FC236}">
                      <a16:creationId xmlns:a16="http://schemas.microsoft.com/office/drawing/2014/main" id="{8739F292-EB8A-51D8-4600-0EDF2444888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288497" y="2058956"/>
                  <a:ext cx="4356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14:cNvPr>
                <p14:cNvContentPartPr/>
                <p14:nvPr/>
              </p14:nvContentPartPr>
              <p14:xfrm>
                <a:off x="2316217" y="2082356"/>
                <a:ext cx="6120" cy="10440"/>
              </p14:xfrm>
            </p:contentPart>
          </mc:Choice>
          <mc:Fallback xmlns="">
            <p:pic>
              <p:nvPicPr>
                <p:cNvPr id="37" name="Input penna 36">
                  <a:extLst>
                    <a:ext uri="{FF2B5EF4-FFF2-40B4-BE49-F238E27FC236}">
                      <a16:creationId xmlns:a16="http://schemas.microsoft.com/office/drawing/2014/main" id="{BA2FA4C7-6792-6252-982F-611985C1D90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298577" y="2064716"/>
                  <a:ext cx="417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14:cNvPr>
                <p14:cNvContentPartPr/>
                <p14:nvPr/>
              </p14:nvContentPartPr>
              <p14:xfrm>
                <a:off x="2216137" y="2114396"/>
                <a:ext cx="10440" cy="12600"/>
              </p14:xfrm>
            </p:contentPart>
          </mc:Choice>
          <mc:Fallback xmlns="">
            <p:pic>
              <p:nvPicPr>
                <p:cNvPr id="38" name="Input penna 37">
                  <a:extLst>
                    <a:ext uri="{FF2B5EF4-FFF2-40B4-BE49-F238E27FC236}">
                      <a16:creationId xmlns:a16="http://schemas.microsoft.com/office/drawing/2014/main" id="{5FE398E6-DFC3-48B8-00FA-5F33CF66D4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2198497" y="2096396"/>
                  <a:ext cx="4608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14:cNvPr>
                <p14:cNvContentPartPr/>
                <p14:nvPr/>
              </p14:nvContentPartPr>
              <p14:xfrm>
                <a:off x="2039737" y="2278196"/>
                <a:ext cx="34920" cy="47520"/>
              </p14:xfrm>
            </p:contentPart>
          </mc:Choice>
          <mc:Fallback xmlns="">
            <p:pic>
              <p:nvPicPr>
                <p:cNvPr id="39" name="Input penna 38">
                  <a:extLst>
                    <a:ext uri="{FF2B5EF4-FFF2-40B4-BE49-F238E27FC236}">
                      <a16:creationId xmlns:a16="http://schemas.microsoft.com/office/drawing/2014/main" id="{5A084D38-E0F8-FDB5-9DB1-80C038B3161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021737" y="2260196"/>
                  <a:ext cx="70560" cy="8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14:cNvPr>
                <p14:cNvContentPartPr/>
                <p14:nvPr/>
              </p14:nvContentPartPr>
              <p14:xfrm>
                <a:off x="1971337" y="2391956"/>
                <a:ext cx="37440" cy="37440"/>
              </p14:xfrm>
            </p:contentPart>
          </mc:Choice>
          <mc:Fallback xmlns="">
            <p:pic>
              <p:nvPicPr>
                <p:cNvPr id="40" name="Input penna 39">
                  <a:extLst>
                    <a:ext uri="{FF2B5EF4-FFF2-40B4-BE49-F238E27FC236}">
                      <a16:creationId xmlns:a16="http://schemas.microsoft.com/office/drawing/2014/main" id="{130DA20D-768D-97ED-7BB5-2AF2CEE68CC0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953697" y="2374316"/>
                  <a:ext cx="7308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14:cNvPr>
                <p14:cNvContentPartPr/>
                <p14:nvPr/>
              </p14:nvContentPartPr>
              <p14:xfrm>
                <a:off x="1994377" y="2453876"/>
                <a:ext cx="4320" cy="29160"/>
              </p14:xfrm>
            </p:contentPart>
          </mc:Choice>
          <mc:Fallback xmlns="">
            <p:pic>
              <p:nvPicPr>
                <p:cNvPr id="41" name="Input penna 40">
                  <a:extLst>
                    <a:ext uri="{FF2B5EF4-FFF2-40B4-BE49-F238E27FC236}">
                      <a16:creationId xmlns:a16="http://schemas.microsoft.com/office/drawing/2014/main" id="{F4F0CE8B-95DD-F73D-7EB9-65A1DAD29AB6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976377" y="2436236"/>
                  <a:ext cx="399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14:cNvPr>
                <p14:cNvContentPartPr/>
                <p14:nvPr/>
              </p14:nvContentPartPr>
              <p14:xfrm>
                <a:off x="2194537" y="2205836"/>
                <a:ext cx="53280" cy="10440"/>
              </p14:xfrm>
            </p:contentPart>
          </mc:Choice>
          <mc:Fallback xmlns="">
            <p:pic>
              <p:nvPicPr>
                <p:cNvPr id="44" name="Input penna 43">
                  <a:extLst>
                    <a:ext uri="{FF2B5EF4-FFF2-40B4-BE49-F238E27FC236}">
                      <a16:creationId xmlns:a16="http://schemas.microsoft.com/office/drawing/2014/main" id="{C3AEEFF5-26CC-382F-0427-7E6CE4D6C4A9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76897" y="2188196"/>
                  <a:ext cx="8892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1">
              <p14:nvContentPartPr>
                <p14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14:cNvPr>
                <p14:cNvContentPartPr/>
                <p14:nvPr/>
              </p14:nvContentPartPr>
              <p14:xfrm>
                <a:off x="2239897" y="2234636"/>
                <a:ext cx="12960" cy="8640"/>
              </p14:xfrm>
            </p:contentPart>
          </mc:Choice>
          <mc:Fallback xmlns="">
            <p:pic>
              <p:nvPicPr>
                <p:cNvPr id="45" name="Input penna 44">
                  <a:extLst>
                    <a:ext uri="{FF2B5EF4-FFF2-40B4-BE49-F238E27FC236}">
                      <a16:creationId xmlns:a16="http://schemas.microsoft.com/office/drawing/2014/main" id="{C3350565-CC81-379E-453D-7CC2C1D14846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21897" y="2216636"/>
                  <a:ext cx="4860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14:cNvPr>
                <p14:cNvContentPartPr/>
                <p14:nvPr/>
              </p14:nvContentPartPr>
              <p14:xfrm>
                <a:off x="2087257" y="2345876"/>
                <a:ext cx="45720" cy="35640"/>
              </p14:xfrm>
            </p:contentPart>
          </mc:Choice>
          <mc:Fallback xmlns="">
            <p:pic>
              <p:nvPicPr>
                <p:cNvPr id="46" name="Input penna 45">
                  <a:extLst>
                    <a:ext uri="{FF2B5EF4-FFF2-40B4-BE49-F238E27FC236}">
                      <a16:creationId xmlns:a16="http://schemas.microsoft.com/office/drawing/2014/main" id="{BCE9ED69-4155-CFD4-B5E6-F02D62FBCDD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069617" y="2328236"/>
                  <a:ext cx="8136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14:cNvPr>
                <p14:cNvContentPartPr/>
                <p14:nvPr/>
              </p14:nvContentPartPr>
              <p14:xfrm>
                <a:off x="2013457" y="2470796"/>
                <a:ext cx="18360" cy="45000"/>
              </p14:xfrm>
            </p:contentPart>
          </mc:Choice>
          <mc:Fallback xmlns="">
            <p:pic>
              <p:nvPicPr>
                <p:cNvPr id="47" name="Input penna 46">
                  <a:extLst>
                    <a:ext uri="{FF2B5EF4-FFF2-40B4-BE49-F238E27FC236}">
                      <a16:creationId xmlns:a16="http://schemas.microsoft.com/office/drawing/2014/main" id="{A8976694-21E1-C511-B20D-88BB7B85FF3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1995457" y="2452796"/>
                  <a:ext cx="5400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14:cNvPr>
                <p14:cNvContentPartPr/>
                <p14:nvPr/>
              </p14:nvContentPartPr>
              <p14:xfrm>
                <a:off x="2202817" y="2414996"/>
                <a:ext cx="60840" cy="10440"/>
              </p14:xfrm>
            </p:contentPart>
          </mc:Choice>
          <mc:Fallback xmlns="">
            <p:pic>
              <p:nvPicPr>
                <p:cNvPr id="48" name="Input penna 47">
                  <a:extLst>
                    <a:ext uri="{FF2B5EF4-FFF2-40B4-BE49-F238E27FC236}">
                      <a16:creationId xmlns:a16="http://schemas.microsoft.com/office/drawing/2014/main" id="{B62B6E27-7EF5-EF16-1E64-94ED6CD1836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185177" y="2397356"/>
                  <a:ext cx="9648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14:cNvPr>
                <p14:cNvContentPartPr/>
                <p14:nvPr/>
              </p14:nvContentPartPr>
              <p14:xfrm>
                <a:off x="2394337" y="2230676"/>
                <a:ext cx="28440" cy="19440"/>
              </p14:xfrm>
            </p:contentPart>
          </mc:Choice>
          <mc:Fallback xmlns="">
            <p:pic>
              <p:nvPicPr>
                <p:cNvPr id="49" name="Input penna 48">
                  <a:extLst>
                    <a:ext uri="{FF2B5EF4-FFF2-40B4-BE49-F238E27FC236}">
                      <a16:creationId xmlns:a16="http://schemas.microsoft.com/office/drawing/2014/main" id="{38E1C83A-1397-5F1A-7457-219624302330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376337" y="2213036"/>
                  <a:ext cx="64080" cy="55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14:cNvPr>
                <p14:cNvContentPartPr/>
                <p14:nvPr/>
              </p14:nvContentPartPr>
              <p14:xfrm>
                <a:off x="2411977" y="2205836"/>
                <a:ext cx="16920" cy="6840"/>
              </p14:xfrm>
            </p:contentPart>
          </mc:Choice>
          <mc:Fallback xmlns="">
            <p:pic>
              <p:nvPicPr>
                <p:cNvPr id="50" name="Input penna 49">
                  <a:extLst>
                    <a:ext uri="{FF2B5EF4-FFF2-40B4-BE49-F238E27FC236}">
                      <a16:creationId xmlns:a16="http://schemas.microsoft.com/office/drawing/2014/main" id="{AC51E351-D748-0C66-961B-21C6148D0FB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394337" y="2188196"/>
                  <a:ext cx="5256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3">
              <p14:nvContentPartPr>
                <p14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14:cNvPr>
                <p14:cNvContentPartPr/>
                <p14:nvPr/>
              </p14:nvContentPartPr>
              <p14:xfrm>
                <a:off x="2351497" y="2425796"/>
                <a:ext cx="14400" cy="50400"/>
              </p14:xfrm>
            </p:contentPart>
          </mc:Choice>
          <mc:Fallback xmlns="">
            <p:pic>
              <p:nvPicPr>
                <p:cNvPr id="51" name="Input penna 50">
                  <a:extLst>
                    <a:ext uri="{FF2B5EF4-FFF2-40B4-BE49-F238E27FC236}">
                      <a16:creationId xmlns:a16="http://schemas.microsoft.com/office/drawing/2014/main" id="{25C4170E-CF49-C692-4D68-B3F82BB9DE08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333497" y="2408156"/>
                  <a:ext cx="500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5">
              <p14:nvContentPartPr>
                <p14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14:cNvPr>
                <p14:cNvContentPartPr/>
                <p14:nvPr/>
              </p14:nvContentPartPr>
              <p14:xfrm>
                <a:off x="2278057" y="2555036"/>
                <a:ext cx="24120" cy="63720"/>
              </p14:xfrm>
            </p:contentPart>
          </mc:Choice>
          <mc:Fallback xmlns="">
            <p:pic>
              <p:nvPicPr>
                <p:cNvPr id="52" name="Input penna 51">
                  <a:extLst>
                    <a:ext uri="{FF2B5EF4-FFF2-40B4-BE49-F238E27FC236}">
                      <a16:creationId xmlns:a16="http://schemas.microsoft.com/office/drawing/2014/main" id="{D68B7DB4-E1CA-9DB2-912E-5A4BD8DC034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260417" y="2537396"/>
                  <a:ext cx="5976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7">
              <p14:nvContentPartPr>
                <p14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14:cNvPr>
                <p14:cNvContentPartPr/>
                <p14:nvPr/>
              </p14:nvContentPartPr>
              <p14:xfrm>
                <a:off x="2064937" y="2700836"/>
                <a:ext cx="49320" cy="43200"/>
              </p14:xfrm>
            </p:contentPart>
          </mc:Choice>
          <mc:Fallback xmlns="">
            <p:pic>
              <p:nvPicPr>
                <p:cNvPr id="53" name="Input penna 52">
                  <a:extLst>
                    <a:ext uri="{FF2B5EF4-FFF2-40B4-BE49-F238E27FC236}">
                      <a16:creationId xmlns:a16="http://schemas.microsoft.com/office/drawing/2014/main" id="{D11F73C2-8C9E-1504-8DC1-E01D8ABB2D94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47297" y="2683196"/>
                  <a:ext cx="84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9">
              <p14:nvContentPartPr>
                <p14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14:cNvPr>
                <p14:cNvContentPartPr/>
                <p14:nvPr/>
              </p14:nvContentPartPr>
              <p14:xfrm>
                <a:off x="2061337" y="2596796"/>
                <a:ext cx="24480" cy="34920"/>
              </p14:xfrm>
            </p:contentPart>
          </mc:Choice>
          <mc:Fallback xmlns="">
            <p:pic>
              <p:nvPicPr>
                <p:cNvPr id="54" name="Input penna 53">
                  <a:extLst>
                    <a:ext uri="{FF2B5EF4-FFF2-40B4-BE49-F238E27FC236}">
                      <a16:creationId xmlns:a16="http://schemas.microsoft.com/office/drawing/2014/main" id="{77F52D46-B183-F31E-3F9C-9C70391AE152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043337" y="2578796"/>
                  <a:ext cx="601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1">
              <p14:nvContentPartPr>
                <p14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14:cNvPr>
                <p14:cNvContentPartPr/>
                <p14:nvPr/>
              </p14:nvContentPartPr>
              <p14:xfrm>
                <a:off x="2130817" y="2548556"/>
                <a:ext cx="28440" cy="30600"/>
              </p14:xfrm>
            </p:contentPart>
          </mc:Choice>
          <mc:Fallback xmlns="">
            <p:pic>
              <p:nvPicPr>
                <p:cNvPr id="55" name="Input penna 54">
                  <a:extLst>
                    <a:ext uri="{FF2B5EF4-FFF2-40B4-BE49-F238E27FC236}">
                      <a16:creationId xmlns:a16="http://schemas.microsoft.com/office/drawing/2014/main" id="{D81E3562-28DE-64B3-06E6-538F8A1F77FA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112817" y="2530916"/>
                  <a:ext cx="64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3">
              <p14:nvContentPartPr>
                <p14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14:cNvPr>
                <p14:cNvContentPartPr/>
                <p14:nvPr/>
              </p14:nvContentPartPr>
              <p14:xfrm>
                <a:off x="2323417" y="2482676"/>
                <a:ext cx="47520" cy="16920"/>
              </p14:xfrm>
            </p:contentPart>
          </mc:Choice>
          <mc:Fallback xmlns="">
            <p:pic>
              <p:nvPicPr>
                <p:cNvPr id="56" name="Input penna 55">
                  <a:extLst>
                    <a:ext uri="{FF2B5EF4-FFF2-40B4-BE49-F238E27FC236}">
                      <a16:creationId xmlns:a16="http://schemas.microsoft.com/office/drawing/2014/main" id="{26BEE707-CED1-AA3E-6150-4324AD8CF4C9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305417" y="2465036"/>
                  <a:ext cx="8316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5">
              <p14:nvContentPartPr>
                <p14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14:cNvPr>
                <p14:cNvContentPartPr/>
                <p14:nvPr/>
              </p14:nvContentPartPr>
              <p14:xfrm>
                <a:off x="2444017" y="2493116"/>
                <a:ext cx="43560" cy="30960"/>
              </p14:xfrm>
            </p:contentPart>
          </mc:Choice>
          <mc:Fallback xmlns="">
            <p:pic>
              <p:nvPicPr>
                <p:cNvPr id="57" name="Input penna 56">
                  <a:extLst>
                    <a:ext uri="{FF2B5EF4-FFF2-40B4-BE49-F238E27FC236}">
                      <a16:creationId xmlns:a16="http://schemas.microsoft.com/office/drawing/2014/main" id="{52CC3C45-ABFA-0448-E0EE-FC2FE71DBED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426017" y="2475116"/>
                  <a:ext cx="792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7">
              <p14:nvContentPartPr>
                <p14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14:cNvPr>
                <p14:cNvContentPartPr/>
                <p14:nvPr/>
              </p14:nvContentPartPr>
              <p14:xfrm>
                <a:off x="2327377" y="2596796"/>
                <a:ext cx="31680" cy="45720"/>
              </p14:xfrm>
            </p:contentPart>
          </mc:Choice>
          <mc:Fallback xmlns="">
            <p:pic>
              <p:nvPicPr>
                <p:cNvPr id="58" name="Input penna 57">
                  <a:extLst>
                    <a:ext uri="{FF2B5EF4-FFF2-40B4-BE49-F238E27FC236}">
                      <a16:creationId xmlns:a16="http://schemas.microsoft.com/office/drawing/2014/main" id="{8436F3CC-1560-B767-C9A7-3EDFC6B78A2E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2309377" y="2578796"/>
                  <a:ext cx="67320" cy="8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9">
              <p14:nvContentPartPr>
                <p14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14:cNvPr>
                <p14:cNvContentPartPr/>
                <p14:nvPr/>
              </p14:nvContentPartPr>
              <p14:xfrm>
                <a:off x="2468497" y="2423276"/>
                <a:ext cx="40320" cy="32040"/>
              </p14:xfrm>
            </p:contentPart>
          </mc:Choice>
          <mc:Fallback xmlns="">
            <p:pic>
              <p:nvPicPr>
                <p:cNvPr id="59" name="Input penna 58">
                  <a:extLst>
                    <a:ext uri="{FF2B5EF4-FFF2-40B4-BE49-F238E27FC236}">
                      <a16:creationId xmlns:a16="http://schemas.microsoft.com/office/drawing/2014/main" id="{BAEDA699-DC89-2D59-E0A9-6DC6B768E40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2450497" y="2405636"/>
                  <a:ext cx="75960" cy="6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1">
              <p14:nvContentPartPr>
                <p14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14:cNvPr>
                <p14:cNvContentPartPr/>
                <p14:nvPr/>
              </p14:nvContentPartPr>
              <p14:xfrm>
                <a:off x="2516737" y="2381876"/>
                <a:ext cx="4680" cy="15840"/>
              </p14:xfrm>
            </p:contentPart>
          </mc:Choice>
          <mc:Fallback xmlns="">
            <p:pic>
              <p:nvPicPr>
                <p:cNvPr id="60" name="Input penna 59">
                  <a:extLst>
                    <a:ext uri="{FF2B5EF4-FFF2-40B4-BE49-F238E27FC236}">
                      <a16:creationId xmlns:a16="http://schemas.microsoft.com/office/drawing/2014/main" id="{27F8E148-16E9-89C4-62ED-AE4AB3C54A3E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2498737" y="2363876"/>
                  <a:ext cx="403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3">
              <p14:nvContentPartPr>
                <p14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14:cNvPr>
                <p14:cNvContentPartPr/>
                <p14:nvPr/>
              </p14:nvContentPartPr>
              <p14:xfrm>
                <a:off x="2440777" y="2315996"/>
                <a:ext cx="33480" cy="28440"/>
              </p14:xfrm>
            </p:contentPart>
          </mc:Choice>
          <mc:Fallback xmlns="">
            <p:pic>
              <p:nvPicPr>
                <p:cNvPr id="61" name="Input penna 60">
                  <a:extLst>
                    <a:ext uri="{FF2B5EF4-FFF2-40B4-BE49-F238E27FC236}">
                      <a16:creationId xmlns:a16="http://schemas.microsoft.com/office/drawing/2014/main" id="{11205A0B-7F78-7CAB-DE6B-36F619FC646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2422777" y="2297996"/>
                  <a:ext cx="69120" cy="6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5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14:cNvPr>
                <p14:cNvContentPartPr/>
                <p14:nvPr/>
              </p14:nvContentPartPr>
              <p14:xfrm>
                <a:off x="2492977" y="2193596"/>
                <a:ext cx="7920" cy="3096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7FB70041-CE1B-0127-6A4A-54EB51A98194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2475337" y="2175956"/>
                  <a:ext cx="435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7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14:cNvPr>
                <p14:cNvContentPartPr/>
                <p14:nvPr/>
              </p14:nvContentPartPr>
              <p14:xfrm>
                <a:off x="2492257" y="2045276"/>
                <a:ext cx="13680" cy="3672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8EC7AC74-89D1-2ADA-7277-291FF8BF049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2474617" y="2027636"/>
                  <a:ext cx="4932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9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14:cNvPr>
                <p14:cNvContentPartPr/>
                <p14:nvPr/>
              </p14:nvContentPartPr>
              <p14:xfrm>
                <a:off x="2311177" y="2113676"/>
                <a:ext cx="40680" cy="162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3C71C971-B6AD-65A5-7F1C-E060DB8ACB6B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2293537" y="2096036"/>
                  <a:ext cx="76320" cy="5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1">
              <p14:nvContentPartPr>
                <p14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14:cNvPr>
                <p14:cNvContentPartPr/>
                <p14:nvPr/>
              </p14:nvContentPartPr>
              <p14:xfrm>
                <a:off x="2132617" y="2249396"/>
                <a:ext cx="74880" cy="144360"/>
              </p14:xfrm>
            </p:contentPart>
          </mc:Choice>
          <mc:Fallback xmlns="">
            <p:pic>
              <p:nvPicPr>
                <p:cNvPr id="65" name="Input penna 64">
                  <a:extLst>
                    <a:ext uri="{FF2B5EF4-FFF2-40B4-BE49-F238E27FC236}">
                      <a16:creationId xmlns:a16="http://schemas.microsoft.com/office/drawing/2014/main" id="{F9D87E6D-2346-89C7-42EB-B3F72A8DF96D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2114977" y="2231396"/>
                  <a:ext cx="110520" cy="180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3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14:cNvPr>
                <p14:cNvContentPartPr/>
                <p14:nvPr/>
              </p14:nvContentPartPr>
              <p14:xfrm>
                <a:off x="1961257" y="2539196"/>
                <a:ext cx="38520" cy="7956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42D464D4-1B41-5600-AF08-9F7F57734459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1943257" y="2521196"/>
                  <a:ext cx="7416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5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14:cNvPr>
                <p14:cNvContentPartPr/>
                <p14:nvPr/>
              </p14:nvContentPartPr>
              <p14:xfrm>
                <a:off x="1815817" y="2688956"/>
                <a:ext cx="21240" cy="349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D6A0EE3-E71C-B87C-6C15-ACFB516933AD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797817" y="2670956"/>
                  <a:ext cx="56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7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14:cNvPr>
                <p14:cNvContentPartPr/>
                <p14:nvPr/>
              </p14:nvContentPartPr>
              <p14:xfrm>
                <a:off x="1917697" y="2486636"/>
                <a:ext cx="39960" cy="291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81E9D5A2-665D-1FA6-6E9D-EBAF260D9F54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900057" y="2468996"/>
                  <a:ext cx="7560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9">
              <p14:nvContentPartPr>
                <p14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14:cNvPr>
                <p14:cNvContentPartPr/>
                <p14:nvPr/>
              </p14:nvContentPartPr>
              <p14:xfrm>
                <a:off x="1924177" y="2523716"/>
                <a:ext cx="20880" cy="16920"/>
              </p14:xfrm>
            </p:contentPart>
          </mc:Choice>
          <mc:Fallback xmlns="">
            <p:pic>
              <p:nvPicPr>
                <p:cNvPr id="69" name="Input penna 68">
                  <a:extLst>
                    <a:ext uri="{FF2B5EF4-FFF2-40B4-BE49-F238E27FC236}">
                      <a16:creationId xmlns:a16="http://schemas.microsoft.com/office/drawing/2014/main" id="{C8F45484-40A3-C825-796A-5B6D61D67BFE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906177" y="2506076"/>
                  <a:ext cx="565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1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14:cNvPr>
                <p14:cNvContentPartPr/>
                <p14:nvPr/>
              </p14:nvContentPartPr>
              <p14:xfrm>
                <a:off x="1786297" y="2662676"/>
                <a:ext cx="22680" cy="2520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9FA6B686-7CD5-0D82-88C2-098F310289DE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768657" y="2644676"/>
                  <a:ext cx="5832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3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14:cNvPr>
                <p14:cNvContentPartPr/>
                <p14:nvPr/>
              </p14:nvContentPartPr>
              <p14:xfrm>
                <a:off x="1634737" y="2829356"/>
                <a:ext cx="4680" cy="241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F7C90759-95A5-6185-CFD4-11D1419CE9E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616737" y="2811716"/>
                  <a:ext cx="403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5">
              <p14:nvContentPartPr>
                <p14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14:cNvPr>
                <p14:cNvContentPartPr/>
                <p14:nvPr/>
              </p14:nvContentPartPr>
              <p14:xfrm>
                <a:off x="1479577" y="2966516"/>
                <a:ext cx="18720" cy="42480"/>
              </p14:xfrm>
            </p:contentPart>
          </mc:Choice>
          <mc:Fallback xmlns="">
            <p:pic>
              <p:nvPicPr>
                <p:cNvPr id="72" name="Input penna 71">
                  <a:extLst>
                    <a:ext uri="{FF2B5EF4-FFF2-40B4-BE49-F238E27FC236}">
                      <a16:creationId xmlns:a16="http://schemas.microsoft.com/office/drawing/2014/main" id="{56006FBA-6426-EB31-8AFD-6654E2CAD2DE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461937" y="2948516"/>
                  <a:ext cx="543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14:cNvPr>
                <p14:cNvContentPartPr/>
                <p14:nvPr/>
              </p14:nvContentPartPr>
              <p14:xfrm>
                <a:off x="1360417" y="3128876"/>
                <a:ext cx="360" cy="3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34D3FBC4-B741-43A3-EA54-456AEB9CE289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342417" y="311087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9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14:cNvPr>
                <p14:cNvContentPartPr/>
                <p14:nvPr/>
              </p14:nvContentPartPr>
              <p14:xfrm>
                <a:off x="1216417" y="3267836"/>
                <a:ext cx="360" cy="540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44F65AA-70A4-A133-11D3-607EDCCCBA8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198417" y="3249836"/>
                  <a:ext cx="36000" cy="4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1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14:cNvPr>
                <p14:cNvContentPartPr/>
                <p14:nvPr/>
              </p14:nvContentPartPr>
              <p14:xfrm>
                <a:off x="1229737" y="3370796"/>
                <a:ext cx="3600" cy="2196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D6605C2B-2647-C714-FC70-8B660A3B28E2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1211737" y="3352796"/>
                  <a:ext cx="392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3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14:cNvPr>
                <p14:cNvContentPartPr/>
                <p14:nvPr/>
              </p14:nvContentPartPr>
              <p14:xfrm>
                <a:off x="1247017" y="3467276"/>
                <a:ext cx="25200" cy="2196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5144D9EC-E3EE-FF04-DC11-D89CA49C92EB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1229017" y="3449276"/>
                  <a:ext cx="6084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5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14:cNvPr>
                <p14:cNvContentPartPr/>
                <p14:nvPr/>
              </p14:nvContentPartPr>
              <p14:xfrm>
                <a:off x="1258537" y="3623876"/>
                <a:ext cx="13680" cy="2088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6D0B0360-B3FE-FA99-18D9-ED1C6B92DBA5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1240537" y="3606236"/>
                  <a:ext cx="4932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7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14:cNvPr>
                <p14:cNvContentPartPr/>
                <p14:nvPr/>
              </p14:nvContentPartPr>
              <p14:xfrm>
                <a:off x="1065217" y="3611276"/>
                <a:ext cx="27000" cy="3168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EA7CBC6E-48C3-8D04-64F8-FF3F4B9C8085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1047217" y="3593276"/>
                  <a:ext cx="6264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9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14:cNvPr>
                <p14:cNvContentPartPr/>
                <p14:nvPr/>
              </p14:nvContentPartPr>
              <p14:xfrm>
                <a:off x="1028857" y="3626036"/>
                <a:ext cx="360" cy="36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11B5F4C1-F1D1-A0CD-9946-43E48AAF293A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10857" y="36080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0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14:cNvPr>
                <p14:cNvContentPartPr/>
                <p14:nvPr/>
              </p14:nvContentPartPr>
              <p14:xfrm>
                <a:off x="1285897" y="3247316"/>
                <a:ext cx="11160" cy="33480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EFB08046-8335-869A-43EE-74F9D0C11BB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1267897" y="3229316"/>
                  <a:ext cx="4680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2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14:cNvPr>
                <p14:cNvContentPartPr/>
                <p14:nvPr/>
              </p14:nvContentPartPr>
              <p14:xfrm>
                <a:off x="1115617" y="3455036"/>
                <a:ext cx="37440" cy="1692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72E3CD57-4BBE-96B2-F8AA-AD80CE0A95A4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1097617" y="3437396"/>
                  <a:ext cx="7308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4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14:cNvPr>
                <p14:cNvContentPartPr/>
                <p14:nvPr/>
              </p14:nvContentPartPr>
              <p14:xfrm>
                <a:off x="1023817" y="3590756"/>
                <a:ext cx="10080" cy="15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EA35DC6-5ED7-965E-D053-BC6284DCEC2E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1005817" y="3572756"/>
                  <a:ext cx="4572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6">
              <p14:nvContentPartPr>
                <p14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14:cNvPr>
                <p14:cNvContentPartPr/>
                <p14:nvPr/>
              </p14:nvContentPartPr>
              <p14:xfrm>
                <a:off x="1311817" y="2719556"/>
                <a:ext cx="18720" cy="12600"/>
              </p14:xfrm>
            </p:contentPart>
          </mc:Choice>
          <mc:Fallback xmlns="">
            <p:pic>
              <p:nvPicPr>
                <p:cNvPr id="83" name="Input penna 82">
                  <a:extLst>
                    <a:ext uri="{FF2B5EF4-FFF2-40B4-BE49-F238E27FC236}">
                      <a16:creationId xmlns:a16="http://schemas.microsoft.com/office/drawing/2014/main" id="{4CD09306-4C9B-5606-EB42-87FA51BC50D2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1294177" y="2701556"/>
                  <a:ext cx="5436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8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14:cNvPr>
                <p14:cNvContentPartPr/>
                <p14:nvPr/>
              </p14:nvContentPartPr>
              <p14:xfrm>
                <a:off x="1512337" y="2572316"/>
                <a:ext cx="11160" cy="1908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684B90F2-3D1C-1F62-4255-9A88D991D96F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1494337" y="2554676"/>
                  <a:ext cx="4680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0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14:cNvPr>
                <p14:cNvContentPartPr/>
                <p14:nvPr/>
              </p14:nvContentPartPr>
              <p14:xfrm>
                <a:off x="1759657" y="2189996"/>
                <a:ext cx="10440" cy="2664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480DD442-1FB1-368F-0DDC-EC3A46C329B2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1741657" y="2171996"/>
                  <a:ext cx="4608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2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14:cNvPr>
                <p14:cNvContentPartPr/>
                <p14:nvPr/>
              </p14:nvContentPartPr>
              <p14:xfrm>
                <a:off x="2017777" y="3348836"/>
                <a:ext cx="360" cy="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BF8733B7-8F7B-72BC-3F8C-CFCFB5315CA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000137" y="333119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3">
              <p14:nvContentPartPr>
                <p14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14:cNvPr>
                <p14:cNvContentPartPr/>
                <p14:nvPr/>
              </p14:nvContentPartPr>
              <p14:xfrm>
                <a:off x="2122537" y="3479876"/>
                <a:ext cx="360" cy="360"/>
              </p14:xfrm>
            </p:contentPart>
          </mc:Choice>
          <mc:Fallback xmlns="">
            <p:pic>
              <p:nvPicPr>
                <p:cNvPr id="87" name="Input penna 86">
                  <a:extLst>
                    <a:ext uri="{FF2B5EF4-FFF2-40B4-BE49-F238E27FC236}">
                      <a16:creationId xmlns:a16="http://schemas.microsoft.com/office/drawing/2014/main" id="{B7C31B5F-425E-B099-B14E-363FFBFA67B6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2104537" y="3462236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4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14:cNvPr>
                <p14:cNvContentPartPr/>
                <p14:nvPr/>
              </p14:nvContentPartPr>
              <p14:xfrm>
                <a:off x="1741657" y="3710996"/>
                <a:ext cx="35280" cy="3348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16324F22-D03F-7AD5-3579-88E58F7F8583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1724017" y="3692996"/>
                  <a:ext cx="70920" cy="6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6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14:cNvPr>
                <p14:cNvContentPartPr/>
                <p14:nvPr/>
              </p14:nvContentPartPr>
              <p14:xfrm>
                <a:off x="1438177" y="3438476"/>
                <a:ext cx="16920" cy="23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9BC06C17-E018-45A9-50D0-3FDEB641EB79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1420537" y="3420476"/>
                  <a:ext cx="5256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8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14:cNvPr>
                <p14:cNvContentPartPr/>
                <p14:nvPr/>
              </p14:nvContentPartPr>
              <p14:xfrm>
                <a:off x="1053697" y="3734036"/>
                <a:ext cx="27000" cy="1908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61EFA588-40BB-7B0F-2894-D2FCD1859FD5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1035697" y="3716036"/>
                  <a:ext cx="62640" cy="5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0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14:cNvPr>
                <p14:cNvContentPartPr/>
                <p14:nvPr/>
              </p14:nvContentPartPr>
              <p14:xfrm>
                <a:off x="1248097" y="3471596"/>
                <a:ext cx="120960" cy="10512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6EF8FA4E-2516-8D70-F6B9-9B036FBA7A4D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1230457" y="3453956"/>
                  <a:ext cx="156600" cy="14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2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14:cNvPr>
                <p14:cNvContentPartPr/>
                <p14:nvPr/>
              </p14:nvContentPartPr>
              <p14:xfrm>
                <a:off x="1514857" y="3296276"/>
                <a:ext cx="51480" cy="2916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716942B9-233E-1B3D-E6AF-441FBB150AAD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1496857" y="3278636"/>
                  <a:ext cx="8712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4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14:cNvPr>
                <p14:cNvContentPartPr/>
                <p14:nvPr/>
              </p14:nvContentPartPr>
              <p14:xfrm>
                <a:off x="1687657" y="3145436"/>
                <a:ext cx="34200" cy="3924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4680E4E1-3C60-C4F3-4A4B-A47B2B6640AA}"/>
                    </a:ext>
                  </a:extLst>
                </p:cNvPr>
                <p:cNvPicPr/>
                <p:nvPr/>
              </p:nvPicPr>
              <p:blipFill>
                <a:blip r:embed="rId115"/>
                <a:stretch>
                  <a:fillRect/>
                </a:stretch>
              </p:blipFill>
              <p:spPr>
                <a:xfrm>
                  <a:off x="1669657" y="3127796"/>
                  <a:ext cx="6984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6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14:cNvPr>
                <p14:cNvContentPartPr/>
                <p14:nvPr/>
              </p14:nvContentPartPr>
              <p14:xfrm>
                <a:off x="1929217" y="2945996"/>
                <a:ext cx="65520" cy="2484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41DA1591-58C3-CD5D-9A50-1F88F999AFEF}"/>
                    </a:ext>
                  </a:extLst>
                </p:cNvPr>
                <p:cNvPicPr/>
                <p:nvPr/>
              </p:nvPicPr>
              <p:blipFill>
                <a:blip r:embed="rId117"/>
                <a:stretch>
                  <a:fillRect/>
                </a:stretch>
              </p:blipFill>
              <p:spPr>
                <a:xfrm>
                  <a:off x="1911577" y="2927996"/>
                  <a:ext cx="1011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8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14:cNvPr>
                <p14:cNvContentPartPr/>
                <p14:nvPr/>
              </p14:nvContentPartPr>
              <p14:xfrm>
                <a:off x="2088697" y="2881916"/>
                <a:ext cx="33480" cy="1260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82E897FA-1D47-DEAA-5A52-619B2A4A3301}"/>
                    </a:ext>
                  </a:extLst>
                </p:cNvPr>
                <p:cNvPicPr/>
                <p:nvPr/>
              </p:nvPicPr>
              <p:blipFill>
                <a:blip r:embed="rId119"/>
                <a:stretch>
                  <a:fillRect/>
                </a:stretch>
              </p:blipFill>
              <p:spPr>
                <a:xfrm>
                  <a:off x="2071057" y="2864276"/>
                  <a:ext cx="69120" cy="48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0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14:cNvPr>
                <p14:cNvContentPartPr/>
                <p14:nvPr/>
              </p14:nvContentPartPr>
              <p14:xfrm>
                <a:off x="2010217" y="2783996"/>
                <a:ext cx="43560" cy="208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A695E286-E71D-31E4-21C7-D30D5AFCDEC1}"/>
                    </a:ext>
                  </a:extLst>
                </p:cNvPr>
                <p:cNvPicPr/>
                <p:nvPr/>
              </p:nvPicPr>
              <p:blipFill>
                <a:blip r:embed="rId121"/>
                <a:stretch>
                  <a:fillRect/>
                </a:stretch>
              </p:blipFill>
              <p:spPr>
                <a:xfrm>
                  <a:off x="1992577" y="2766356"/>
                  <a:ext cx="7920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2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14:cNvPr>
                <p14:cNvContentPartPr/>
                <p14:nvPr/>
              </p14:nvContentPartPr>
              <p14:xfrm>
                <a:off x="1917697" y="2778956"/>
                <a:ext cx="28440" cy="1512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11497F83-A314-A3F0-D265-9D1389AF8900}"/>
                    </a:ext>
                  </a:extLst>
                </p:cNvPr>
                <p:cNvPicPr/>
                <p:nvPr/>
              </p:nvPicPr>
              <p:blipFill>
                <a:blip r:embed="rId123"/>
                <a:stretch>
                  <a:fillRect/>
                </a:stretch>
              </p:blipFill>
              <p:spPr>
                <a:xfrm>
                  <a:off x="1900057" y="2761316"/>
                  <a:ext cx="64080" cy="50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4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14:cNvPr>
                <p14:cNvContentPartPr/>
                <p14:nvPr/>
              </p14:nvContentPartPr>
              <p14:xfrm>
                <a:off x="1860457" y="2873636"/>
                <a:ext cx="11880" cy="2016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9840B14-F3A0-351F-CA1E-DD14EA12503C}"/>
                    </a:ext>
                  </a:extLst>
                </p:cNvPr>
                <p:cNvPicPr/>
                <p:nvPr/>
              </p:nvPicPr>
              <p:blipFill>
                <a:blip r:embed="rId125"/>
                <a:stretch>
                  <a:fillRect/>
                </a:stretch>
              </p:blipFill>
              <p:spPr>
                <a:xfrm>
                  <a:off x="1842457" y="2855996"/>
                  <a:ext cx="47520" cy="5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6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14:cNvPr>
                <p14:cNvContentPartPr/>
                <p14:nvPr/>
              </p14:nvContentPartPr>
              <p14:xfrm>
                <a:off x="1863697" y="2969756"/>
                <a:ext cx="4320" cy="4320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56C672A5-FC14-BCD2-20EA-2451D2548CF3}"/>
                    </a:ext>
                  </a:extLst>
                </p:cNvPr>
                <p:cNvPicPr/>
                <p:nvPr/>
              </p:nvPicPr>
              <p:blipFill>
                <a:blip r:embed="rId127"/>
                <a:stretch>
                  <a:fillRect/>
                </a:stretch>
              </p:blipFill>
              <p:spPr>
                <a:xfrm>
                  <a:off x="1845697" y="2951756"/>
                  <a:ext cx="3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8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14:cNvPr>
                <p14:cNvContentPartPr/>
                <p14:nvPr/>
              </p14:nvContentPartPr>
              <p14:xfrm>
                <a:off x="1977817" y="3032756"/>
                <a:ext cx="30960" cy="684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CE8051-7C70-7CF2-0008-94BE562DC28E}"/>
                    </a:ext>
                  </a:extLst>
                </p:cNvPr>
                <p:cNvPicPr/>
                <p:nvPr/>
              </p:nvPicPr>
              <p:blipFill>
                <a:blip r:embed="rId129"/>
                <a:stretch>
                  <a:fillRect/>
                </a:stretch>
              </p:blipFill>
              <p:spPr>
                <a:xfrm>
                  <a:off x="1959817" y="3015116"/>
                  <a:ext cx="666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0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14:cNvPr>
                <p14:cNvContentPartPr/>
                <p14:nvPr/>
              </p14:nvContentPartPr>
              <p14:xfrm>
                <a:off x="1976377" y="3092876"/>
                <a:ext cx="27000" cy="1764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439DBA0A-94A9-4D94-B18C-DD978840FDE5}"/>
                    </a:ext>
                  </a:extLst>
                </p:cNvPr>
                <p:cNvPicPr/>
                <p:nvPr/>
              </p:nvPicPr>
              <p:blipFill>
                <a:blip r:embed="rId131"/>
                <a:stretch>
                  <a:fillRect/>
                </a:stretch>
              </p:blipFill>
              <p:spPr>
                <a:xfrm>
                  <a:off x="1958737" y="3075236"/>
                  <a:ext cx="6264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2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14:cNvPr>
                <p14:cNvContentPartPr/>
                <p14:nvPr/>
              </p14:nvContentPartPr>
              <p14:xfrm>
                <a:off x="1086097" y="3568796"/>
                <a:ext cx="213480" cy="7056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3EC2850D-607C-02AF-71AD-2421026A0309}"/>
                    </a:ext>
                  </a:extLst>
                </p:cNvPr>
                <p:cNvPicPr/>
                <p:nvPr/>
              </p:nvPicPr>
              <p:blipFill>
                <a:blip r:embed="rId133"/>
                <a:stretch>
                  <a:fillRect/>
                </a:stretch>
              </p:blipFill>
              <p:spPr>
                <a:xfrm>
                  <a:off x="1068457" y="3551156"/>
                  <a:ext cx="249120" cy="10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4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14:cNvPr>
                <p14:cNvContentPartPr/>
                <p14:nvPr/>
              </p14:nvContentPartPr>
              <p14:xfrm>
                <a:off x="1238737" y="3637916"/>
                <a:ext cx="15120" cy="2916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F0E14C6B-AB5D-B971-A890-BAC213328576}"/>
                    </a:ext>
                  </a:extLst>
                </p:cNvPr>
                <p:cNvPicPr/>
                <p:nvPr/>
              </p:nvPicPr>
              <p:blipFill>
                <a:blip r:embed="rId135"/>
                <a:stretch>
                  <a:fillRect/>
                </a:stretch>
              </p:blipFill>
              <p:spPr>
                <a:xfrm>
                  <a:off x="1220737" y="3620276"/>
                  <a:ext cx="50760" cy="6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6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14:cNvPr>
                <p14:cNvContentPartPr/>
                <p14:nvPr/>
              </p14:nvContentPartPr>
              <p14:xfrm>
                <a:off x="1475257" y="3491036"/>
                <a:ext cx="57240" cy="2088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CAD6B6B8-256E-E9CC-CF61-13B7A0C7F8ED}"/>
                    </a:ext>
                  </a:extLst>
                </p:cNvPr>
                <p:cNvPicPr/>
                <p:nvPr/>
              </p:nvPicPr>
              <p:blipFill>
                <a:blip r:embed="rId137"/>
                <a:stretch>
                  <a:fillRect/>
                </a:stretch>
              </p:blipFill>
              <p:spPr>
                <a:xfrm>
                  <a:off x="1457257" y="3473036"/>
                  <a:ext cx="928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8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14:cNvPr>
                <p14:cNvContentPartPr/>
                <p14:nvPr/>
              </p14:nvContentPartPr>
              <p14:xfrm>
                <a:off x="1591897" y="3369356"/>
                <a:ext cx="54000" cy="4068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639B19CE-E5AF-449B-4A12-842A4B6CBD13}"/>
                    </a:ext>
                  </a:extLst>
                </p:cNvPr>
                <p:cNvPicPr/>
                <p:nvPr/>
              </p:nvPicPr>
              <p:blipFill>
                <a:blip r:embed="rId139"/>
                <a:stretch>
                  <a:fillRect/>
                </a:stretch>
              </p:blipFill>
              <p:spPr>
                <a:xfrm>
                  <a:off x="1574257" y="3351716"/>
                  <a:ext cx="89640" cy="7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0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14:cNvPr>
                <p14:cNvContentPartPr/>
                <p14:nvPr/>
              </p14:nvContentPartPr>
              <p14:xfrm>
                <a:off x="1741297" y="3250556"/>
                <a:ext cx="77400" cy="3816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68EB16D-C3E4-FC19-EB05-75D66B6BC69C}"/>
                    </a:ext>
                  </a:extLst>
                </p:cNvPr>
                <p:cNvPicPr/>
                <p:nvPr/>
              </p:nvPicPr>
              <p:blipFill>
                <a:blip r:embed="rId141"/>
                <a:stretch>
                  <a:fillRect/>
                </a:stretch>
              </p:blipFill>
              <p:spPr>
                <a:xfrm>
                  <a:off x="1723297" y="3232556"/>
                  <a:ext cx="11304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2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14:cNvPr>
                <p14:cNvContentPartPr/>
                <p14:nvPr/>
              </p14:nvContentPartPr>
              <p14:xfrm>
                <a:off x="1887817" y="3150476"/>
                <a:ext cx="26640" cy="3420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110A1F69-ED0F-D1AC-3149-6EA2E2C47C44}"/>
                    </a:ext>
                  </a:extLst>
                </p:cNvPr>
                <p:cNvPicPr/>
                <p:nvPr/>
              </p:nvPicPr>
              <p:blipFill>
                <a:blip r:embed="rId143"/>
                <a:stretch>
                  <a:fillRect/>
                </a:stretch>
              </p:blipFill>
              <p:spPr>
                <a:xfrm>
                  <a:off x="1870177" y="3132836"/>
                  <a:ext cx="622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4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14:cNvPr>
                <p14:cNvContentPartPr/>
                <p14:nvPr/>
              </p14:nvContentPartPr>
              <p14:xfrm>
                <a:off x="1874497" y="3020156"/>
                <a:ext cx="4680" cy="432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BA916377-D30C-80E0-FA63-DD758F729352}"/>
                    </a:ext>
                  </a:extLst>
                </p:cNvPr>
                <p:cNvPicPr/>
                <p:nvPr/>
              </p:nvPicPr>
              <p:blipFill>
                <a:blip r:embed="rId145"/>
                <a:stretch>
                  <a:fillRect/>
                </a:stretch>
              </p:blipFill>
              <p:spPr>
                <a:xfrm>
                  <a:off x="1856497" y="3002156"/>
                  <a:ext cx="40320" cy="3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6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14:cNvPr>
                <p14:cNvContentPartPr/>
                <p14:nvPr/>
              </p14:nvContentPartPr>
              <p14:xfrm>
                <a:off x="1724377" y="2868596"/>
                <a:ext cx="20160" cy="2412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85D4E3BF-4888-165D-3CB5-36D7C16DE552}"/>
                    </a:ext>
                  </a:extLst>
                </p:cNvPr>
                <p:cNvPicPr/>
                <p:nvPr/>
              </p:nvPicPr>
              <p:blipFill>
                <a:blip r:embed="rId147"/>
                <a:stretch>
                  <a:fillRect/>
                </a:stretch>
              </p:blipFill>
              <p:spPr>
                <a:xfrm>
                  <a:off x="1706737" y="2850596"/>
                  <a:ext cx="5580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8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14:cNvPr>
                <p14:cNvContentPartPr/>
                <p14:nvPr/>
              </p14:nvContentPartPr>
              <p14:xfrm>
                <a:off x="1600897" y="2952836"/>
                <a:ext cx="21240" cy="1764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F4E7CB7-54D0-8A33-F781-490404B50905}"/>
                    </a:ext>
                  </a:extLst>
                </p:cNvPr>
                <p:cNvPicPr/>
                <p:nvPr/>
              </p:nvPicPr>
              <p:blipFill>
                <a:blip r:embed="rId149"/>
                <a:stretch>
                  <a:fillRect/>
                </a:stretch>
              </p:blipFill>
              <p:spPr>
                <a:xfrm>
                  <a:off x="1582897" y="2935196"/>
                  <a:ext cx="56880" cy="5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0">
              <p14:nvContentPartPr>
                <p14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14:cNvPr>
                <p14:cNvContentPartPr/>
                <p14:nvPr/>
              </p14:nvContentPartPr>
              <p14:xfrm>
                <a:off x="1568857" y="3067316"/>
                <a:ext cx="8640" cy="25920"/>
              </p14:xfrm>
            </p:contentPart>
          </mc:Choice>
          <mc:Fallback xmlns="">
            <p:pic>
              <p:nvPicPr>
                <p:cNvPr id="111" name="Input penna 110">
                  <a:extLst>
                    <a:ext uri="{FF2B5EF4-FFF2-40B4-BE49-F238E27FC236}">
                      <a16:creationId xmlns:a16="http://schemas.microsoft.com/office/drawing/2014/main" id="{79940218-6522-8A5B-8DC8-72D2E30DDB3D}"/>
                    </a:ext>
                  </a:extLst>
                </p:cNvPr>
                <p:cNvPicPr/>
                <p:nvPr/>
              </p:nvPicPr>
              <p:blipFill>
                <a:blip r:embed="rId151"/>
                <a:stretch>
                  <a:fillRect/>
                </a:stretch>
              </p:blipFill>
              <p:spPr>
                <a:xfrm>
                  <a:off x="1551217" y="3049676"/>
                  <a:ext cx="4428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2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14:cNvPr>
                <p14:cNvContentPartPr/>
                <p14:nvPr/>
              </p14:nvContentPartPr>
              <p14:xfrm>
                <a:off x="1443217" y="3181436"/>
                <a:ext cx="11880" cy="2412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82E688C6-B845-8890-46AA-54BA82B65983}"/>
                    </a:ext>
                  </a:extLst>
                </p:cNvPr>
                <p:cNvPicPr/>
                <p:nvPr/>
              </p:nvPicPr>
              <p:blipFill>
                <a:blip r:embed="rId153"/>
                <a:stretch>
                  <a:fillRect/>
                </a:stretch>
              </p:blipFill>
              <p:spPr>
                <a:xfrm>
                  <a:off x="1425577" y="3163436"/>
                  <a:ext cx="47520" cy="5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4">
              <p14:nvContentPartPr>
                <p14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14:cNvPr>
                <p14:cNvContentPartPr/>
                <p14:nvPr/>
              </p14:nvContentPartPr>
              <p14:xfrm>
                <a:off x="1392817" y="3231836"/>
                <a:ext cx="15120" cy="8640"/>
              </p14:xfrm>
            </p:contentPart>
          </mc:Choice>
          <mc:Fallback xmlns="">
            <p:pic>
              <p:nvPicPr>
                <p:cNvPr id="113" name="Input penna 112">
                  <a:extLst>
                    <a:ext uri="{FF2B5EF4-FFF2-40B4-BE49-F238E27FC236}">
                      <a16:creationId xmlns:a16="http://schemas.microsoft.com/office/drawing/2014/main" id="{391B9387-AE85-5B74-6F25-6E3B9ECEA9E5}"/>
                    </a:ext>
                  </a:extLst>
                </p:cNvPr>
                <p:cNvPicPr/>
                <p:nvPr/>
              </p:nvPicPr>
              <p:blipFill>
                <a:blip r:embed="rId155"/>
                <a:stretch>
                  <a:fillRect/>
                </a:stretch>
              </p:blipFill>
              <p:spPr>
                <a:xfrm>
                  <a:off x="1375177" y="3214196"/>
                  <a:ext cx="50760" cy="4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6">
              <p14:nvContentPartPr>
                <p14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14:cNvPr>
                <p14:cNvContentPartPr/>
                <p14:nvPr/>
              </p14:nvContentPartPr>
              <p14:xfrm>
                <a:off x="1077097" y="3250556"/>
                <a:ext cx="25200" cy="1080"/>
              </p14:xfrm>
            </p:contentPart>
          </mc:Choice>
          <mc:Fallback xmlns="">
            <p:pic>
              <p:nvPicPr>
                <p:cNvPr id="114" name="Input penna 113">
                  <a:extLst>
                    <a:ext uri="{FF2B5EF4-FFF2-40B4-BE49-F238E27FC236}">
                      <a16:creationId xmlns:a16="http://schemas.microsoft.com/office/drawing/2014/main" id="{879AB95A-C64B-7427-637B-D6F2D984301B}"/>
                    </a:ext>
                  </a:extLst>
                </p:cNvPr>
                <p:cNvPicPr/>
                <p:nvPr/>
              </p:nvPicPr>
              <p:blipFill>
                <a:blip r:embed="rId157"/>
                <a:stretch>
                  <a:fillRect/>
                </a:stretch>
              </p:blipFill>
              <p:spPr>
                <a:xfrm>
                  <a:off x="1059457" y="3232556"/>
                  <a:ext cx="60840" cy="3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8">
              <p14:nvContentPartPr>
                <p14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14:cNvPr>
                <p14:cNvContentPartPr/>
                <p14:nvPr/>
              </p14:nvContentPartPr>
              <p14:xfrm>
                <a:off x="1024897" y="3461516"/>
                <a:ext cx="20880" cy="34920"/>
              </p14:xfrm>
            </p:contentPart>
          </mc:Choice>
          <mc:Fallback xmlns="">
            <p:pic>
              <p:nvPicPr>
                <p:cNvPr id="115" name="Input penna 114">
                  <a:extLst>
                    <a:ext uri="{FF2B5EF4-FFF2-40B4-BE49-F238E27FC236}">
                      <a16:creationId xmlns:a16="http://schemas.microsoft.com/office/drawing/2014/main" id="{92F0DEEF-7845-F3C9-81A4-69F048D13635}"/>
                    </a:ext>
                  </a:extLst>
                </p:cNvPr>
                <p:cNvPicPr/>
                <p:nvPr/>
              </p:nvPicPr>
              <p:blipFill>
                <a:blip r:embed="rId159"/>
                <a:stretch>
                  <a:fillRect/>
                </a:stretch>
              </p:blipFill>
              <p:spPr>
                <a:xfrm>
                  <a:off x="1007257" y="3443516"/>
                  <a:ext cx="5652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0">
              <p14:nvContentPartPr>
                <p14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14:cNvPr>
                <p14:cNvContentPartPr/>
                <p14:nvPr/>
              </p14:nvContentPartPr>
              <p14:xfrm>
                <a:off x="958657" y="3629636"/>
                <a:ext cx="2880" cy="39960"/>
              </p14:xfrm>
            </p:contentPart>
          </mc:Choice>
          <mc:Fallback xmlns="">
            <p:pic>
              <p:nvPicPr>
                <p:cNvPr id="116" name="Input penna 115">
                  <a:extLst>
                    <a:ext uri="{FF2B5EF4-FFF2-40B4-BE49-F238E27FC236}">
                      <a16:creationId xmlns:a16="http://schemas.microsoft.com/office/drawing/2014/main" id="{6DA9D059-EE07-A344-AFF5-15428A406CE7}"/>
                    </a:ext>
                  </a:extLst>
                </p:cNvPr>
                <p:cNvPicPr/>
                <p:nvPr/>
              </p:nvPicPr>
              <p:blipFill>
                <a:blip r:embed="rId161"/>
                <a:stretch>
                  <a:fillRect/>
                </a:stretch>
              </p:blipFill>
              <p:spPr>
                <a:xfrm>
                  <a:off x="940657" y="3611996"/>
                  <a:ext cx="3852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2">
              <p14:nvContentPartPr>
                <p14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14:cNvPr>
                <p14:cNvContentPartPr/>
                <p14:nvPr/>
              </p14:nvContentPartPr>
              <p14:xfrm>
                <a:off x="971257" y="3759596"/>
                <a:ext cx="4320" cy="57960"/>
              </p14:xfrm>
            </p:contentPart>
          </mc:Choice>
          <mc:Fallback xmlns="">
            <p:pic>
              <p:nvPicPr>
                <p:cNvPr id="117" name="Input penna 116">
                  <a:extLst>
                    <a:ext uri="{FF2B5EF4-FFF2-40B4-BE49-F238E27FC236}">
                      <a16:creationId xmlns:a16="http://schemas.microsoft.com/office/drawing/2014/main" id="{A1F05144-275D-22AA-3913-6D45CBFC7C70}"/>
                    </a:ext>
                  </a:extLst>
                </p:cNvPr>
                <p:cNvPicPr/>
                <p:nvPr/>
              </p:nvPicPr>
              <p:blipFill>
                <a:blip r:embed="rId163"/>
                <a:stretch>
                  <a:fillRect/>
                </a:stretch>
              </p:blipFill>
              <p:spPr>
                <a:xfrm>
                  <a:off x="953617" y="3741596"/>
                  <a:ext cx="39960" cy="9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4">
              <p14:nvContentPartPr>
                <p14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14:cNvPr>
                <p14:cNvContentPartPr/>
                <p14:nvPr/>
              </p14:nvContentPartPr>
              <p14:xfrm>
                <a:off x="1113097" y="3835556"/>
                <a:ext cx="108720" cy="30960"/>
              </p14:xfrm>
            </p:contentPart>
          </mc:Choice>
          <mc:Fallback xmlns="">
            <p:pic>
              <p:nvPicPr>
                <p:cNvPr id="118" name="Input penna 117">
                  <a:extLst>
                    <a:ext uri="{FF2B5EF4-FFF2-40B4-BE49-F238E27FC236}">
                      <a16:creationId xmlns:a16="http://schemas.microsoft.com/office/drawing/2014/main" id="{067E576A-EE2A-80BF-F63A-FB89E744B64D}"/>
                    </a:ext>
                  </a:extLst>
                </p:cNvPr>
                <p:cNvPicPr/>
                <p:nvPr/>
              </p:nvPicPr>
              <p:blipFill>
                <a:blip r:embed="rId165"/>
                <a:stretch>
                  <a:fillRect/>
                </a:stretch>
              </p:blipFill>
              <p:spPr>
                <a:xfrm>
                  <a:off x="1095097" y="3817916"/>
                  <a:ext cx="14436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6">
              <p14:nvContentPartPr>
                <p14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14:cNvPr>
                <p14:cNvContentPartPr/>
                <p14:nvPr/>
              </p14:nvContentPartPr>
              <p14:xfrm>
                <a:off x="1393897" y="3705236"/>
                <a:ext cx="41760" cy="30960"/>
              </p14:xfrm>
            </p:contentPart>
          </mc:Choice>
          <mc:Fallback xmlns="">
            <p:pic>
              <p:nvPicPr>
                <p:cNvPr id="119" name="Input penna 118">
                  <a:extLst>
                    <a:ext uri="{FF2B5EF4-FFF2-40B4-BE49-F238E27FC236}">
                      <a16:creationId xmlns:a16="http://schemas.microsoft.com/office/drawing/2014/main" id="{217B5D20-ABEB-3999-2EA6-A14D8092D009}"/>
                    </a:ext>
                  </a:extLst>
                </p:cNvPr>
                <p:cNvPicPr/>
                <p:nvPr/>
              </p:nvPicPr>
              <p:blipFill>
                <a:blip r:embed="rId167"/>
                <a:stretch>
                  <a:fillRect/>
                </a:stretch>
              </p:blipFill>
              <p:spPr>
                <a:xfrm>
                  <a:off x="1375897" y="3687236"/>
                  <a:ext cx="77400" cy="66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68">
              <p14:nvContentPartPr>
                <p14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14:cNvPr>
                <p14:cNvContentPartPr/>
                <p14:nvPr/>
              </p14:nvContentPartPr>
              <p14:xfrm>
                <a:off x="1563097" y="3556196"/>
                <a:ext cx="18720" cy="26640"/>
              </p14:xfrm>
            </p:contentPart>
          </mc:Choice>
          <mc:Fallback xmlns="">
            <p:pic>
              <p:nvPicPr>
                <p:cNvPr id="120" name="Input penna 119">
                  <a:extLst>
                    <a:ext uri="{FF2B5EF4-FFF2-40B4-BE49-F238E27FC236}">
                      <a16:creationId xmlns:a16="http://schemas.microsoft.com/office/drawing/2014/main" id="{EF825BCC-323E-D050-EABB-321D0581E6DF}"/>
                    </a:ext>
                  </a:extLst>
                </p:cNvPr>
                <p:cNvPicPr/>
                <p:nvPr/>
              </p:nvPicPr>
              <p:blipFill>
                <a:blip r:embed="rId169"/>
                <a:stretch>
                  <a:fillRect/>
                </a:stretch>
              </p:blipFill>
              <p:spPr>
                <a:xfrm>
                  <a:off x="1545457" y="3538196"/>
                  <a:ext cx="54360" cy="62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0">
              <p14:nvContentPartPr>
                <p14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14:cNvPr>
                <p14:cNvContentPartPr/>
                <p14:nvPr/>
              </p14:nvContentPartPr>
              <p14:xfrm>
                <a:off x="1688377" y="3442796"/>
                <a:ext cx="31680" cy="38160"/>
              </p14:xfrm>
            </p:contentPart>
          </mc:Choice>
          <mc:Fallback xmlns="">
            <p:pic>
              <p:nvPicPr>
                <p:cNvPr id="121" name="Input penna 120">
                  <a:extLst>
                    <a:ext uri="{FF2B5EF4-FFF2-40B4-BE49-F238E27FC236}">
                      <a16:creationId xmlns:a16="http://schemas.microsoft.com/office/drawing/2014/main" id="{21A6C3E2-79A5-D845-365E-FD7FD7570570}"/>
                    </a:ext>
                  </a:extLst>
                </p:cNvPr>
                <p:cNvPicPr/>
                <p:nvPr/>
              </p:nvPicPr>
              <p:blipFill>
                <a:blip r:embed="rId171"/>
                <a:stretch>
                  <a:fillRect/>
                </a:stretch>
              </p:blipFill>
              <p:spPr>
                <a:xfrm>
                  <a:off x="1670377" y="3425156"/>
                  <a:ext cx="67320" cy="7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14:cNvPr>
                <p14:cNvContentPartPr/>
                <p14:nvPr/>
              </p14:nvContentPartPr>
              <p14:xfrm>
                <a:off x="1377697" y="2985596"/>
                <a:ext cx="29160" cy="3744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08EFFE1F-C5CB-B3C1-9FB0-F4E6748CB126}"/>
                    </a:ext>
                  </a:extLst>
                </p:cNvPr>
                <p:cNvPicPr/>
                <p:nvPr/>
              </p:nvPicPr>
              <p:blipFill>
                <a:blip r:embed="rId173"/>
                <a:stretch>
                  <a:fillRect/>
                </a:stretch>
              </p:blipFill>
              <p:spPr>
                <a:xfrm>
                  <a:off x="1359697" y="2967596"/>
                  <a:ext cx="64800" cy="7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14:cNvPr>
                <p14:cNvContentPartPr/>
                <p14:nvPr/>
              </p14:nvContentPartPr>
              <p14:xfrm>
                <a:off x="1443217" y="2896676"/>
                <a:ext cx="4680" cy="2484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AC71766A-843C-EEF5-DB4D-FED3A2F6C141}"/>
                    </a:ext>
                  </a:extLst>
                </p:cNvPr>
                <p:cNvPicPr/>
                <p:nvPr/>
              </p:nvPicPr>
              <p:blipFill>
                <a:blip r:embed="rId175"/>
                <a:stretch>
                  <a:fillRect/>
                </a:stretch>
              </p:blipFill>
              <p:spPr>
                <a:xfrm>
                  <a:off x="1425577" y="2878676"/>
                  <a:ext cx="403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6">
              <p14:nvContentPartPr>
                <p14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14:cNvPr>
                <p14:cNvContentPartPr/>
                <p14:nvPr/>
              </p14:nvContentPartPr>
              <p14:xfrm>
                <a:off x="1151257" y="3138956"/>
                <a:ext cx="50040" cy="23400"/>
              </p14:xfrm>
            </p:contentPart>
          </mc:Choice>
          <mc:Fallback xmlns="">
            <p:pic>
              <p:nvPicPr>
                <p:cNvPr id="124" name="Input penna 123">
                  <a:extLst>
                    <a:ext uri="{FF2B5EF4-FFF2-40B4-BE49-F238E27FC236}">
                      <a16:creationId xmlns:a16="http://schemas.microsoft.com/office/drawing/2014/main" id="{73566C49-71F2-8D62-EE37-65FF64A70B57}"/>
                    </a:ext>
                  </a:extLst>
                </p:cNvPr>
                <p:cNvPicPr/>
                <p:nvPr/>
              </p:nvPicPr>
              <p:blipFill>
                <a:blip r:embed="rId177"/>
                <a:stretch>
                  <a:fillRect/>
                </a:stretch>
              </p:blipFill>
              <p:spPr>
                <a:xfrm>
                  <a:off x="1133257" y="3121316"/>
                  <a:ext cx="8568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8">
              <p14:nvContentPartPr>
                <p14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14:cNvPr>
                <p14:cNvContentPartPr/>
                <p14:nvPr/>
              </p14:nvContentPartPr>
              <p14:xfrm>
                <a:off x="1629697" y="2767436"/>
                <a:ext cx="38520" cy="25200"/>
              </p14:xfrm>
            </p:contentPart>
          </mc:Choice>
          <mc:Fallback xmlns="">
            <p:pic>
              <p:nvPicPr>
                <p:cNvPr id="125" name="Input penna 124">
                  <a:extLst>
                    <a:ext uri="{FF2B5EF4-FFF2-40B4-BE49-F238E27FC236}">
                      <a16:creationId xmlns:a16="http://schemas.microsoft.com/office/drawing/2014/main" id="{066AEE05-3F5B-EFDE-A1BB-1879ECC6DB5A}"/>
                    </a:ext>
                  </a:extLst>
                </p:cNvPr>
                <p:cNvPicPr/>
                <p:nvPr/>
              </p:nvPicPr>
              <p:blipFill>
                <a:blip r:embed="rId179"/>
                <a:stretch>
                  <a:fillRect/>
                </a:stretch>
              </p:blipFill>
              <p:spPr>
                <a:xfrm>
                  <a:off x="1611697" y="2749796"/>
                  <a:ext cx="74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0">
              <p14:nvContentPartPr>
                <p14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14:cNvPr>
                <p14:cNvContentPartPr/>
                <p14:nvPr/>
              </p14:nvContentPartPr>
              <p14:xfrm>
                <a:off x="1743097" y="2584556"/>
                <a:ext cx="27000" cy="44640"/>
              </p14:xfrm>
            </p:contentPart>
          </mc:Choice>
          <mc:Fallback xmlns="">
            <p:pic>
              <p:nvPicPr>
                <p:cNvPr id="126" name="Input penna 125">
                  <a:extLst>
                    <a:ext uri="{FF2B5EF4-FFF2-40B4-BE49-F238E27FC236}">
                      <a16:creationId xmlns:a16="http://schemas.microsoft.com/office/drawing/2014/main" id="{EA723163-D8BA-D28A-A791-F03AA4620ABF}"/>
                    </a:ext>
                  </a:extLst>
                </p:cNvPr>
                <p:cNvPicPr/>
                <p:nvPr/>
              </p:nvPicPr>
              <p:blipFill>
                <a:blip r:embed="rId181"/>
                <a:stretch>
                  <a:fillRect/>
                </a:stretch>
              </p:blipFill>
              <p:spPr>
                <a:xfrm>
                  <a:off x="1725097" y="2566556"/>
                  <a:ext cx="6264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2">
              <p14:nvContentPartPr>
                <p14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14:cNvPr>
                <p14:cNvContentPartPr/>
                <p14:nvPr/>
              </p14:nvContentPartPr>
              <p14:xfrm>
                <a:off x="1996177" y="2291516"/>
                <a:ext cx="48960" cy="54720"/>
              </p14:xfrm>
            </p:contentPart>
          </mc:Choice>
          <mc:Fallback xmlns="">
            <p:pic>
              <p:nvPicPr>
                <p:cNvPr id="127" name="Input penna 126">
                  <a:extLst>
                    <a:ext uri="{FF2B5EF4-FFF2-40B4-BE49-F238E27FC236}">
                      <a16:creationId xmlns:a16="http://schemas.microsoft.com/office/drawing/2014/main" id="{711791A4-FEE4-81B3-CB23-40C6D6D688DC}"/>
                    </a:ext>
                  </a:extLst>
                </p:cNvPr>
                <p:cNvPicPr/>
                <p:nvPr/>
              </p:nvPicPr>
              <p:blipFill>
                <a:blip r:embed="rId183"/>
                <a:stretch>
                  <a:fillRect/>
                </a:stretch>
              </p:blipFill>
              <p:spPr>
                <a:xfrm>
                  <a:off x="1978537" y="2273876"/>
                  <a:ext cx="84600" cy="9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4">
              <p14:nvContentPartPr>
                <p14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14:cNvPr>
                <p14:cNvContentPartPr/>
                <p14:nvPr/>
              </p14:nvContentPartPr>
              <p14:xfrm>
                <a:off x="2100217" y="2158676"/>
                <a:ext cx="13680" cy="43920"/>
              </p14:xfrm>
            </p:contentPart>
          </mc:Choice>
          <mc:Fallback xmlns="">
            <p:pic>
              <p:nvPicPr>
                <p:cNvPr id="128" name="Input penna 127">
                  <a:extLst>
                    <a:ext uri="{FF2B5EF4-FFF2-40B4-BE49-F238E27FC236}">
                      <a16:creationId xmlns:a16="http://schemas.microsoft.com/office/drawing/2014/main" id="{CBBF5DC8-12A0-63B9-E7B0-0482AC752B82}"/>
                    </a:ext>
                  </a:extLst>
                </p:cNvPr>
                <p:cNvPicPr/>
                <p:nvPr/>
              </p:nvPicPr>
              <p:blipFill>
                <a:blip r:embed="rId185"/>
                <a:stretch>
                  <a:fillRect/>
                </a:stretch>
              </p:blipFill>
              <p:spPr>
                <a:xfrm>
                  <a:off x="2082217" y="2140676"/>
                  <a:ext cx="49320" cy="79560"/>
                </a:xfrm>
                <a:prstGeom prst="rect">
                  <a:avLst/>
                </a:prstGeom>
              </p:spPr>
            </p:pic>
          </mc:Fallback>
        </mc:AlternateContent>
      </p:grpSp>
      <p:cxnSp>
        <p:nvCxnSpPr>
          <p:cNvPr id="131" name="Connettore diritto 130">
            <a:extLst>
              <a:ext uri="{FF2B5EF4-FFF2-40B4-BE49-F238E27FC236}">
                <a16:creationId xmlns:a16="http://schemas.microsoft.com/office/drawing/2014/main" id="{3163675C-64FA-1EBB-A1E4-FF1FE1A77CEA}"/>
              </a:ext>
            </a:extLst>
          </p:cNvPr>
          <p:cNvCxnSpPr>
            <a:cxnSpLocks/>
          </p:cNvCxnSpPr>
          <p:nvPr/>
        </p:nvCxnSpPr>
        <p:spPr>
          <a:xfrm flipV="1">
            <a:off x="686002" y="3946468"/>
            <a:ext cx="1706484" cy="190054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BCF5D468-3992-BBD2-8847-8749DBAAB3D0}"/>
              </a:ext>
            </a:extLst>
          </p:cNvPr>
          <p:cNvSpPr txBox="1"/>
          <p:nvPr/>
        </p:nvSpPr>
        <p:spPr>
          <a:xfrm>
            <a:off x="2712449" y="5114683"/>
            <a:ext cx="61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ST’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/>
              <p:nvPr/>
            </p:nvSpPr>
            <p:spPr>
              <a:xfrm>
                <a:off x="1215204" y="3090439"/>
                <a:ext cx="4709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37" name="CasellaDiTesto 136">
                <a:extLst>
                  <a:ext uri="{FF2B5EF4-FFF2-40B4-BE49-F238E27FC236}">
                    <a16:creationId xmlns:a16="http://schemas.microsoft.com/office/drawing/2014/main" id="{FD328680-F21E-1358-3C42-819DEE525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5204" y="3090439"/>
                <a:ext cx="470963" cy="369332"/>
              </a:xfrm>
              <a:prstGeom prst="rect">
                <a:avLst/>
              </a:prstGeom>
              <a:blipFill>
                <a:blip r:embed="rId186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/>
              <p:nvPr/>
            </p:nvSpPr>
            <p:spPr>
              <a:xfrm>
                <a:off x="469281" y="2418354"/>
                <a:ext cx="2355068" cy="6398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e>
                        <m:sup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  <m:sup/>
                      </m:sSubSup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𝑆𝑆𝑇</m:t>
                      </m:r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GB" sz="2800" dirty="0"/>
              </a:p>
            </p:txBody>
          </p:sp>
        </mc:Choice>
        <mc:Fallback xmlns=""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151091EC-FCF4-9CE5-B0A7-8DC7D4A3A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281" y="2418354"/>
                <a:ext cx="2355068" cy="639855"/>
              </a:xfrm>
              <a:prstGeom prst="rect">
                <a:avLst/>
              </a:prstGeom>
              <a:blipFill>
                <a:blip r:embed="rId1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131A196-814A-9419-81E9-D3F38616E450}"/>
              </a:ext>
            </a:extLst>
          </p:cNvPr>
          <p:cNvSpPr txBox="1"/>
          <p:nvPr/>
        </p:nvSpPr>
        <p:spPr>
          <a:xfrm>
            <a:off x="940512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ale-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epend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D511747-5D1F-A665-7B9F-79E4039091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B1F24CB-C441-2FF8-7B58-E6D80202697C}"/>
              </a:ext>
            </a:extLst>
          </p:cNvPr>
          <p:cNvPicPr>
            <a:picLocks noChangeAspect="1"/>
          </p:cNvPicPr>
          <p:nvPr/>
        </p:nvPicPr>
        <p:blipFill>
          <a:blip r:embed="rId188"/>
          <a:stretch>
            <a:fillRect/>
          </a:stretch>
        </p:blipFill>
        <p:spPr>
          <a:xfrm>
            <a:off x="4411745" y="934706"/>
            <a:ext cx="6832518" cy="5322343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ADFE605-230F-598C-FF22-9CCA00CCEDE1}"/>
              </a:ext>
            </a:extLst>
          </p:cNvPr>
          <p:cNvSpPr txBox="1"/>
          <p:nvPr/>
        </p:nvSpPr>
        <p:spPr>
          <a:xfrm>
            <a:off x="469281" y="1079849"/>
            <a:ext cx="3695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Atmosphere-only</a:t>
            </a:r>
            <a:r>
              <a:rPr lang="it-IT" dirty="0"/>
              <a:t> WRF </a:t>
            </a:r>
            <a:r>
              <a:rPr lang="it-IT" dirty="0" err="1"/>
              <a:t>simul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8840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/>
      <p:bldP spid="137" grpId="0"/>
      <p:bldP spid="138" grpId="0" build="allAtOnce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5591D-F8B5-EEF4-3DAF-BDABABA98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DE017A4D-C5D2-65A5-E590-B1201A9AC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558" y="1028750"/>
            <a:ext cx="5076161" cy="5129099"/>
          </a:xfrm>
          <a:prstGeom prst="rect">
            <a:avLst/>
          </a:prstGeom>
        </p:spPr>
      </p:pic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C331663-2499-6E52-E584-9383B86386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460158B5-136F-8CB4-3E5C-39CF0662988B}"/>
              </a:ext>
            </a:extLst>
          </p:cNvPr>
          <p:cNvCxnSpPr>
            <a:cxnSpLocks/>
          </p:cNvCxnSpPr>
          <p:nvPr/>
        </p:nvCxnSpPr>
        <p:spPr>
          <a:xfrm>
            <a:off x="955060" y="700151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7" name="Immagine 6">
            <a:extLst>
              <a:ext uri="{FF2B5EF4-FFF2-40B4-BE49-F238E27FC236}">
                <a16:creationId xmlns:a16="http://schemas.microsoft.com/office/drawing/2014/main" id="{3D01EF1B-E7BB-ECC0-D106-1F6F3C33AE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7845"/>
          <a:stretch>
            <a:fillRect/>
          </a:stretch>
        </p:blipFill>
        <p:spPr>
          <a:xfrm>
            <a:off x="6096000" y="2792757"/>
            <a:ext cx="5861669" cy="828785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0621538E-70F3-BF51-1B9C-F17066E2A6C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0110"/>
          <a:stretch>
            <a:fillRect/>
          </a:stretch>
        </p:blipFill>
        <p:spPr>
          <a:xfrm>
            <a:off x="6845593" y="3658967"/>
            <a:ext cx="3884263" cy="855749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BCD51B7-1ACC-3A86-1AFC-BDEFB460B08B}"/>
              </a:ext>
            </a:extLst>
          </p:cNvPr>
          <p:cNvSpPr txBox="1"/>
          <p:nvPr/>
        </p:nvSpPr>
        <p:spPr>
          <a:xfrm>
            <a:off x="787092" y="164777"/>
            <a:ext cx="709710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patial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riability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f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hf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xchange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62493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7F52A313-436F-8FC7-BCBE-0FB06746DE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346" y="1043075"/>
            <a:ext cx="7127997" cy="5515214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4E8694DC-658B-6460-8C27-2E4054971020}"/>
              </a:ext>
            </a:extLst>
          </p:cNvPr>
          <p:cNvCxnSpPr>
            <a:cxnSpLocks/>
          </p:cNvCxnSpPr>
          <p:nvPr/>
        </p:nvCxnSpPr>
        <p:spPr>
          <a:xfrm>
            <a:off x="2715414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47387D-88E0-E8CB-573C-B40AF4413E6D}"/>
              </a:ext>
            </a:extLst>
          </p:cNvPr>
          <p:cNvSpPr txBox="1"/>
          <p:nvPr/>
        </p:nvSpPr>
        <p:spPr>
          <a:xfrm>
            <a:off x="2218156" y="136525"/>
            <a:ext cx="7755688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Two </a:t>
            </a:r>
            <a:r>
              <a:rPr lang="it-IT" sz="2721" b="1" dirty="0" err="1"/>
              <a:t>conceptual</a:t>
            </a:r>
            <a:r>
              <a:rPr lang="it-IT" sz="2721" b="1" dirty="0"/>
              <a:t> </a:t>
            </a:r>
            <a:r>
              <a:rPr lang="it-IT" sz="2721" b="1" dirty="0" err="1"/>
              <a:t>scenarios</a:t>
            </a:r>
            <a:endParaRPr lang="it-IT" sz="1944" b="1" dirty="0"/>
          </a:p>
        </p:txBody>
      </p:sp>
    </p:spTree>
    <p:extLst>
      <p:ext uri="{BB962C8B-B14F-4D97-AF65-F5344CB8AC3E}">
        <p14:creationId xmlns:p14="http://schemas.microsoft.com/office/powerpoint/2010/main" val="3208422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DA2435-BF90-3B56-6537-612F32523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512" y="904875"/>
            <a:ext cx="9324975" cy="504825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789CAE8D-8675-B032-C36A-BFC3C3A75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462C7-FC75-48FE-B23B-3A5013EAA38B}" type="slidenum">
              <a:rPr lang="it-IT" smtClean="0"/>
              <a:t>13</a:t>
            </a:fld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E3FB3D-47DF-BCA4-A21E-1C57FA047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A10D8FEC-D4F6-8508-9AEB-9136A04CB83E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Upscaling</a:t>
            </a:r>
            <a:r>
              <a:rPr lang="it-IT" sz="2721" b="1" dirty="0"/>
              <a:t> </a:t>
            </a:r>
            <a:r>
              <a:rPr lang="it-IT" sz="2721" b="1" dirty="0" err="1"/>
              <a:t>effect</a:t>
            </a:r>
            <a:r>
              <a:rPr lang="it-IT" sz="2721" b="1" dirty="0"/>
              <a:t> in LHF </a:t>
            </a:r>
            <a:r>
              <a:rPr lang="it-IT" sz="2721" b="1" dirty="0" err="1"/>
              <a:t>modulation</a:t>
            </a:r>
            <a:endParaRPr lang="it-IT" sz="1944" b="1" dirty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C71616D7-F1D8-629E-F9A4-EE39ADD87FC2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8464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05003AC-27D6-710A-028C-F60CCB4C42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809" y="1693023"/>
            <a:ext cx="9364382" cy="3886742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40036FA6-F42F-B3E6-D515-AB2CB032518F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/>
              <a:t>Backup</a:t>
            </a:r>
            <a:endParaRPr lang="it-IT" sz="1944" b="1" dirty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D9C25DB-BA74-D89A-CAF5-B3C29835DB90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260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149F7B5-8969-09F4-0FB0-7FC41B027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7296F491-F9E8-B5EF-9FD1-9D5E7B2C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5</a:t>
            </a:fld>
            <a:endParaRPr lang="en-GB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2A5D2F48-F988-F48B-279E-AA3D2F7E8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/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𝑆𝐻𝐹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2333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⟨"/>
                          <m:endChr m:val="⟩"/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−⟨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⟩</m:t>
                          </m:r>
                        </m:e>
                      </m:d>
                    </m:oMath>
                  </m:oMathPara>
                </a14:m>
                <a:endParaRPr lang="it-IT" sz="2333" i="1" dirty="0">
                  <a:latin typeface="Cambria Math" panose="02040503050406030204" pitchFamily="18" charset="0"/>
                </a:endParaRPr>
              </a:p>
              <a:p>
                <a:endParaRPr lang="it-IT" sz="2333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333" dirty="0"/>
              </a:p>
              <a:p>
                <a:endParaRPr lang="it-IT" sz="2333" dirty="0"/>
              </a:p>
              <a:p>
                <a:pPr algn="ctr"/>
                <a:r>
                  <a:rPr lang="it-IT" sz="1749" dirty="0" err="1"/>
                  <a:t>Where</a:t>
                </a:r>
                <a:r>
                  <a:rPr lang="it-IT" sz="1749" dirty="0"/>
                  <a:t>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sz="1749" dirty="0"/>
                  <a:t>   is </a:t>
                </a:r>
                <a:r>
                  <a:rPr lang="it-IT" sz="1749" dirty="0" err="1"/>
                  <a:t>Clausius-Clapeyron</a:t>
                </a:r>
                <a:r>
                  <a:rPr lang="it-IT" sz="1749" dirty="0"/>
                  <a:t> (CC)</a:t>
                </a:r>
              </a:p>
              <a:p>
                <a:endParaRPr lang="it-IT" sz="2333" dirty="0"/>
              </a:p>
              <a:p>
                <a:endParaRPr lang="it-IT" sz="2333" dirty="0"/>
              </a:p>
              <a:p>
                <a:endParaRPr lang="it-IT" sz="2333" dirty="0"/>
              </a:p>
            </p:txBody>
          </p:sp>
        </mc:Choice>
        <mc:Fallback xmlns="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9E647413-A522-4ED3-6252-49433612FD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733" y="1979352"/>
                <a:ext cx="5366206" cy="295561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/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3" i="1">
                          <a:latin typeface="Cambria Math" panose="02040503050406030204" pitchFamily="18" charset="0"/>
                        </a:rPr>
                        <m:t>𝑠𝑒𝑛𝑠𝑖𝑡𝑖𝑣𝑖𝑡𝑖𝑒𝑠</m:t>
                      </m:r>
                      <m:r>
                        <a:rPr lang="it-IT" sz="2333" i="1">
                          <a:latin typeface="Cambria Math" panose="02040503050406030204" pitchFamily="18" charset="0"/>
                        </a:rPr>
                        <m:t> ==  </m:t>
                      </m:r>
                      <m:f>
                        <m:fPr>
                          <m:ctrlPr>
                            <a:rPr lang="it-IT" sz="23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𝐻𝐹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𝑆𝑆𝑇</m:t>
                          </m:r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′</m:t>
                          </m:r>
                        </m:den>
                      </m:f>
                    </m:oMath>
                  </m:oMathPara>
                </a14:m>
                <a:endParaRPr lang="it-IT" sz="2333" dirty="0"/>
              </a:p>
            </p:txBody>
          </p:sp>
        </mc:Choice>
        <mc:Fallback xmlns=""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822CB287-D815-99EA-5384-106DD666A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54129" y="4350217"/>
                <a:ext cx="5922943" cy="791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ttangolo 4">
            <a:extLst>
              <a:ext uri="{FF2B5EF4-FFF2-40B4-BE49-F238E27FC236}">
                <a16:creationId xmlns:a16="http://schemas.microsoft.com/office/drawing/2014/main" id="{A1829AD5-15BF-6D9B-F51E-7F336B726DD3}"/>
              </a:ext>
            </a:extLst>
          </p:cNvPr>
          <p:cNvSpPr/>
          <p:nvPr/>
        </p:nvSpPr>
        <p:spPr>
          <a:xfrm>
            <a:off x="6789203" y="4715874"/>
            <a:ext cx="2115459" cy="3651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F7CCBBD-F5DA-60A8-4C4F-2320957C49A9}"/>
              </a:ext>
            </a:extLst>
          </p:cNvPr>
          <p:cNvSpPr/>
          <p:nvPr/>
        </p:nvSpPr>
        <p:spPr>
          <a:xfrm rot="10800000">
            <a:off x="8903118" y="4715873"/>
            <a:ext cx="2115459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E7466CC-AC5A-97D9-F587-E862DBA8DFB5}"/>
              </a:ext>
            </a:extLst>
          </p:cNvPr>
          <p:cNvSpPr txBox="1"/>
          <p:nvPr/>
        </p:nvSpPr>
        <p:spPr>
          <a:xfrm>
            <a:off x="6780640" y="5272163"/>
            <a:ext cx="962299" cy="358946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lt; 0 </a:t>
            </a:r>
            <a:endParaRPr lang="en-GB" sz="1749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25D8EDF-2476-0AE7-CBC2-16DDC57F1B01}"/>
              </a:ext>
            </a:extLst>
          </p:cNvPr>
          <p:cNvSpPr txBox="1"/>
          <p:nvPr/>
        </p:nvSpPr>
        <p:spPr>
          <a:xfrm>
            <a:off x="10056280" y="5272163"/>
            <a:ext cx="962299" cy="358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it-IT" sz="1749" dirty="0"/>
              <a:t>SST’ &gt; 0 </a:t>
            </a:r>
            <a:endParaRPr lang="en-GB" sz="1749" dirty="0"/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0B08F148-195E-BB20-2B48-BD2C741AEB02}"/>
              </a:ext>
            </a:extLst>
          </p:cNvPr>
          <p:cNvCxnSpPr>
            <a:cxnSpLocks/>
          </p:cNvCxnSpPr>
          <p:nvPr/>
        </p:nvCxnSpPr>
        <p:spPr>
          <a:xfrm>
            <a:off x="6533611" y="2363526"/>
            <a:ext cx="5012676" cy="0"/>
          </a:xfrm>
          <a:prstGeom prst="line">
            <a:avLst/>
          </a:prstGeom>
          <a:ln w="381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620AE00-3301-1D45-43CC-C97ED01D2ABE}"/>
              </a:ext>
            </a:extLst>
          </p:cNvPr>
          <p:cNvSpPr txBox="1"/>
          <p:nvPr/>
        </p:nvSpPr>
        <p:spPr>
          <a:xfrm>
            <a:off x="10502116" y="1811879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DC03827C-5803-7958-07E5-CA0D64CB999B}"/>
              </a:ext>
            </a:extLst>
          </p:cNvPr>
          <p:cNvSpPr/>
          <p:nvPr/>
        </p:nvSpPr>
        <p:spPr>
          <a:xfrm rot="10800000">
            <a:off x="7023416" y="3862691"/>
            <a:ext cx="359784" cy="791549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F9107B3-86A8-EF0A-1663-1EA457D35EE8}"/>
              </a:ext>
            </a:extLst>
          </p:cNvPr>
          <p:cNvSpPr txBox="1"/>
          <p:nvPr/>
        </p:nvSpPr>
        <p:spPr>
          <a:xfrm>
            <a:off x="7455717" y="4036140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063C2DFD-976B-577C-C356-FCC4FE108726}"/>
              </a:ext>
            </a:extLst>
          </p:cNvPr>
          <p:cNvSpPr txBox="1"/>
          <p:nvPr/>
        </p:nvSpPr>
        <p:spPr>
          <a:xfrm>
            <a:off x="9536825" y="4071337"/>
            <a:ext cx="836169" cy="628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749" dirty="0"/>
              <a:t>SHF’ ? </a:t>
            </a:r>
          </a:p>
          <a:p>
            <a:r>
              <a:rPr lang="it-IT" sz="1749" dirty="0"/>
              <a:t>LHF’ ?</a:t>
            </a:r>
            <a:endParaRPr lang="en-GB" sz="1749" dirty="0"/>
          </a:p>
        </p:txBody>
      </p:sp>
      <p:sp>
        <p:nvSpPr>
          <p:cNvPr id="20" name="Freccia in su 19">
            <a:extLst>
              <a:ext uri="{FF2B5EF4-FFF2-40B4-BE49-F238E27FC236}">
                <a16:creationId xmlns:a16="http://schemas.microsoft.com/office/drawing/2014/main" id="{3372F20B-B918-7077-AEF1-1FBA918B9BFC}"/>
              </a:ext>
            </a:extLst>
          </p:cNvPr>
          <p:cNvSpPr/>
          <p:nvPr/>
        </p:nvSpPr>
        <p:spPr>
          <a:xfrm>
            <a:off x="10640417" y="3862690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AC07FB2-6C24-E718-F325-0963DF5CC312}"/>
              </a:ext>
            </a:extLst>
          </p:cNvPr>
          <p:cNvSpPr txBox="1"/>
          <p:nvPr/>
        </p:nvSpPr>
        <p:spPr>
          <a:xfrm>
            <a:off x="2115389" y="148231"/>
            <a:ext cx="7659673" cy="508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1" b="1" dirty="0" err="1"/>
              <a:t>Sensitivity</a:t>
            </a:r>
            <a:r>
              <a:rPr lang="it-IT" sz="2721" b="1" dirty="0"/>
              <a:t> of </a:t>
            </a:r>
            <a:r>
              <a:rPr lang="it-IT" sz="2721" b="1" dirty="0" err="1"/>
              <a:t>surface</a:t>
            </a:r>
            <a:r>
              <a:rPr lang="it-IT" sz="2721" b="1" dirty="0"/>
              <a:t> </a:t>
            </a:r>
            <a:r>
              <a:rPr lang="it-IT" sz="2721" b="1" dirty="0" err="1"/>
              <a:t>fluxes</a:t>
            </a:r>
            <a:r>
              <a:rPr lang="it-IT" sz="2721" b="1" dirty="0"/>
              <a:t> to SST</a:t>
            </a:r>
            <a:endParaRPr lang="it-IT" sz="1944" b="1" dirty="0"/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60BEE01-9643-F665-550A-06536EBDDC3D}"/>
              </a:ext>
            </a:extLst>
          </p:cNvPr>
          <p:cNvCxnSpPr>
            <a:cxnSpLocks/>
          </p:cNvCxnSpPr>
          <p:nvPr/>
        </p:nvCxnSpPr>
        <p:spPr>
          <a:xfrm>
            <a:off x="256463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Segnaposto piè di pagina 1">
            <a:extLst>
              <a:ext uri="{FF2B5EF4-FFF2-40B4-BE49-F238E27FC236}">
                <a16:creationId xmlns:a16="http://schemas.microsoft.com/office/drawing/2014/main" id="{BC225A03-7E02-2006-636E-E720840F4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22515" y="6356351"/>
            <a:ext cx="5146971" cy="365125"/>
          </a:xfrm>
        </p:spPr>
        <p:txBody>
          <a:bodyPr/>
          <a:lstStyle/>
          <a:p>
            <a:r>
              <a:rPr lang="en-GB" dirty="0"/>
              <a:t>Alessandro Storer - alessandro.storer@unimib.it -  </a:t>
            </a:r>
            <a:r>
              <a:rPr lang="en-GB" dirty="0" err="1"/>
              <a:t>Meteo</a:t>
            </a:r>
            <a:r>
              <a:rPr lang="en-GB" dirty="0"/>
              <a:t> </a:t>
            </a:r>
            <a:r>
              <a:rPr lang="en-GB" dirty="0" err="1"/>
              <a:t>XChange</a:t>
            </a:r>
            <a:r>
              <a:rPr lang="en-GB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2457948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43AFF-2687-C0D2-E910-039733881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C809953-09A3-2FDA-4B7D-C0D2B9D02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16</a:t>
            </a:fld>
            <a:endParaRPr lang="en-GB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8DCD030-7F44-0E5F-82B9-26D3EEDE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54" y="5625088"/>
            <a:ext cx="1058403" cy="109638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put penna 9">
                <a:extLst>
                  <a:ext uri="{FF2B5EF4-FFF2-40B4-BE49-F238E27FC236}">
                    <a16:creationId xmlns:a16="http://schemas.microsoft.com/office/drawing/2014/main" id="{D8E4DCD9-FE9E-230A-0477-622423702E99}"/>
                  </a:ext>
                </a:extLst>
              </p14:cNvPr>
              <p14:cNvContentPartPr/>
              <p14:nvPr/>
            </p14:nvContentPartPr>
            <p14:xfrm>
              <a:off x="6250291" y="171074"/>
              <a:ext cx="350" cy="350"/>
            </p14:xfrm>
          </p:contentPart>
        </mc:Choice>
        <mc:Fallback xmlns="">
          <p:pic>
            <p:nvPicPr>
              <p:cNvPr id="10" name="Input penna 9">
                <a:extLst>
                  <a:ext uri="{FF2B5EF4-FFF2-40B4-BE49-F238E27FC236}">
                    <a16:creationId xmlns:a16="http://schemas.microsoft.com/office/drawing/2014/main" id="{2973406B-A718-EAAE-4198-4D2D8940F4A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32791" y="153574"/>
                <a:ext cx="35000" cy="35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CasellaDiTesto 7">
            <a:extLst>
              <a:ext uri="{FF2B5EF4-FFF2-40B4-BE49-F238E27FC236}">
                <a16:creationId xmlns:a16="http://schemas.microsoft.com/office/drawing/2014/main" id="{87375A19-9370-4A26-9A64-6ACB1323D862}"/>
              </a:ext>
            </a:extLst>
          </p:cNvPr>
          <p:cNvSpPr txBox="1"/>
          <p:nvPr/>
        </p:nvSpPr>
        <p:spPr>
          <a:xfrm>
            <a:off x="2887012" y="1750788"/>
            <a:ext cx="641797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20" b="1" dirty="0"/>
              <a:t>A minimal </a:t>
            </a:r>
            <a:r>
              <a:rPr lang="it-IT" sz="2720" b="1" dirty="0" err="1"/>
              <a:t>physics</a:t>
            </a:r>
            <a:r>
              <a:rPr lang="it-IT" sz="2720" b="1" dirty="0"/>
              <a:t> </a:t>
            </a:r>
            <a:r>
              <a:rPr lang="it-IT" sz="2720" b="1" dirty="0" err="1"/>
              <a:t>approach</a:t>
            </a:r>
            <a:endParaRPr lang="it-IT" sz="2720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09DBFA4-A775-670E-7E59-E790D5D9393C}"/>
              </a:ext>
            </a:extLst>
          </p:cNvPr>
          <p:cNvSpPr txBox="1"/>
          <p:nvPr/>
        </p:nvSpPr>
        <p:spPr>
          <a:xfrm>
            <a:off x="2656949" y="2565058"/>
            <a:ext cx="6878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 err="1"/>
              <a:t>What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range of </a:t>
            </a:r>
            <a:r>
              <a:rPr lang="it-IT" sz="2400" dirty="0" err="1"/>
              <a:t>validity</a:t>
            </a:r>
            <a:r>
              <a:rPr lang="it-IT" sz="2400" dirty="0"/>
              <a:t> of </a:t>
            </a:r>
            <a:r>
              <a:rPr lang="it-IT" sz="2400" dirty="0" err="1"/>
              <a:t>this</a:t>
            </a:r>
            <a:r>
              <a:rPr lang="it-IT" sz="2400" dirty="0"/>
              <a:t> 1D bulk model ?</a:t>
            </a:r>
            <a:endParaRPr lang="en-GB" sz="2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5964A24-D873-BCB3-B1E2-6544B55BEF36}"/>
              </a:ext>
            </a:extLst>
          </p:cNvPr>
          <p:cNvSpPr txBox="1"/>
          <p:nvPr/>
        </p:nvSpPr>
        <p:spPr>
          <a:xfrm>
            <a:off x="2001659" y="3369613"/>
            <a:ext cx="8497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How </a:t>
            </a:r>
            <a:r>
              <a:rPr lang="it-IT" sz="2400" dirty="0" err="1"/>
              <a:t>does</a:t>
            </a:r>
            <a:r>
              <a:rPr lang="it-IT" sz="2400" dirty="0"/>
              <a:t> the </a:t>
            </a:r>
            <a:r>
              <a:rPr lang="it-IT" sz="2400" dirty="0" err="1"/>
              <a:t>thermodynamic</a:t>
            </a:r>
            <a:r>
              <a:rPr lang="it-IT" sz="2400" dirty="0"/>
              <a:t> </a:t>
            </a:r>
            <a:r>
              <a:rPr lang="it-IT" sz="2400" dirty="0" err="1"/>
              <a:t>adjustment</a:t>
            </a:r>
            <a:r>
              <a:rPr lang="it-IT" sz="2400" dirty="0"/>
              <a:t> </a:t>
            </a:r>
            <a:r>
              <a:rPr lang="it-IT" sz="2400" dirty="0" err="1"/>
              <a:t>change</a:t>
            </a:r>
            <a:r>
              <a:rPr lang="it-IT" sz="2400" dirty="0"/>
              <a:t> with </a:t>
            </a:r>
            <a:r>
              <a:rPr lang="it-IT" sz="2400" dirty="0" err="1"/>
              <a:t>scales</a:t>
            </a:r>
            <a:r>
              <a:rPr lang="it-IT" sz="2400" dirty="0"/>
              <a:t>?</a:t>
            </a:r>
            <a:endParaRPr lang="en-GB" sz="2400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68227127-22FF-F802-8C42-C060FBBFB74E}"/>
              </a:ext>
            </a:extLst>
          </p:cNvPr>
          <p:cNvCxnSpPr/>
          <p:nvPr/>
        </p:nvCxnSpPr>
        <p:spPr>
          <a:xfrm>
            <a:off x="4194928" y="1750788"/>
            <a:ext cx="1197204" cy="5964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835C441B-7141-8B13-EC09-04F662F95385}"/>
              </a:ext>
            </a:extLst>
          </p:cNvPr>
          <p:cNvCxnSpPr>
            <a:cxnSpLocks/>
          </p:cNvCxnSpPr>
          <p:nvPr/>
        </p:nvCxnSpPr>
        <p:spPr>
          <a:xfrm flipV="1">
            <a:off x="4233028" y="1710483"/>
            <a:ext cx="1121004" cy="63146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uppo 27">
            <a:extLst>
              <a:ext uri="{FF2B5EF4-FFF2-40B4-BE49-F238E27FC236}">
                <a16:creationId xmlns:a16="http://schemas.microsoft.com/office/drawing/2014/main" id="{968AFB34-0DA9-1FC1-6C51-31398460ED86}"/>
              </a:ext>
            </a:extLst>
          </p:cNvPr>
          <p:cNvGrpSpPr/>
          <p:nvPr/>
        </p:nvGrpSpPr>
        <p:grpSpPr>
          <a:xfrm>
            <a:off x="3906672" y="1105545"/>
            <a:ext cx="1429560" cy="632160"/>
            <a:chOff x="3906672" y="1105545"/>
            <a:chExt cx="1429560" cy="6321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14:cNvPr>
                <p14:cNvContentPartPr/>
                <p14:nvPr/>
              </p14:nvContentPartPr>
              <p14:xfrm>
                <a:off x="3906672" y="1105545"/>
                <a:ext cx="292680" cy="469080"/>
              </p14:xfrm>
            </p:contentPart>
          </mc:Choice>
          <mc:Fallback xmlns="">
            <p:pic>
              <p:nvPicPr>
                <p:cNvPr id="18" name="Input penna 17">
                  <a:extLst>
                    <a:ext uri="{FF2B5EF4-FFF2-40B4-BE49-F238E27FC236}">
                      <a16:creationId xmlns:a16="http://schemas.microsoft.com/office/drawing/2014/main" id="{3EDE89A7-81F1-3562-2E00-CC5480A9EC4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889032" y="1087905"/>
                  <a:ext cx="328320" cy="504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14:cNvPr>
                <p14:cNvContentPartPr/>
                <p14:nvPr/>
              </p14:nvContentPartPr>
              <p14:xfrm>
                <a:off x="3997752" y="1366185"/>
                <a:ext cx="241920" cy="64440"/>
              </p14:xfrm>
            </p:contentPart>
          </mc:Choice>
          <mc:Fallback xmlns="">
            <p:pic>
              <p:nvPicPr>
                <p:cNvPr id="19" name="Input penna 18">
                  <a:extLst>
                    <a:ext uri="{FF2B5EF4-FFF2-40B4-BE49-F238E27FC236}">
                      <a16:creationId xmlns:a16="http://schemas.microsoft.com/office/drawing/2014/main" id="{E5377A61-746E-D82F-3A02-E33AD621D8F2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979752" y="1348185"/>
                  <a:ext cx="27756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14:cNvPr>
                <p14:cNvContentPartPr/>
                <p14:nvPr/>
              </p14:nvContentPartPr>
              <p14:xfrm>
                <a:off x="4363152" y="1180425"/>
                <a:ext cx="266400" cy="400320"/>
              </p14:xfrm>
            </p:contentPart>
          </mc:Choice>
          <mc:Fallback xmlns="">
            <p:pic>
              <p:nvPicPr>
                <p:cNvPr id="25" name="Input penna 24">
                  <a:extLst>
                    <a:ext uri="{FF2B5EF4-FFF2-40B4-BE49-F238E27FC236}">
                      <a16:creationId xmlns:a16="http://schemas.microsoft.com/office/drawing/2014/main" id="{C67D7600-0AC4-4D7C-05FD-DF118A0F1E8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345512" y="1162425"/>
                  <a:ext cx="302040" cy="435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14:cNvPr>
                <p14:cNvContentPartPr/>
                <p14:nvPr/>
              </p14:nvContentPartPr>
              <p14:xfrm>
                <a:off x="4756272" y="1196265"/>
                <a:ext cx="284040" cy="435240"/>
              </p14:xfrm>
            </p:contentPart>
          </mc:Choice>
          <mc:Fallback xmlns="">
            <p:pic>
              <p:nvPicPr>
                <p:cNvPr id="26" name="Input penna 25">
                  <a:extLst>
                    <a:ext uri="{FF2B5EF4-FFF2-40B4-BE49-F238E27FC236}">
                      <a16:creationId xmlns:a16="http://schemas.microsoft.com/office/drawing/2014/main" id="{4276FD76-ABDE-88F1-CF07-5BD62FF98D84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738272" y="1178625"/>
                  <a:ext cx="3196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14:cNvPr>
                <p14:cNvContentPartPr/>
                <p14:nvPr/>
              </p14:nvContentPartPr>
              <p14:xfrm>
                <a:off x="5096472" y="1355745"/>
                <a:ext cx="239760" cy="381960"/>
              </p14:xfrm>
            </p:contentPart>
          </mc:Choice>
          <mc:Fallback xmlns="">
            <p:pic>
              <p:nvPicPr>
                <p:cNvPr id="27" name="Input penna 26">
                  <a:extLst>
                    <a:ext uri="{FF2B5EF4-FFF2-40B4-BE49-F238E27FC236}">
                      <a16:creationId xmlns:a16="http://schemas.microsoft.com/office/drawing/2014/main" id="{3BF7D712-7398-A82C-EB66-D083943E08D9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078472" y="1338105"/>
                  <a:ext cx="275400" cy="4176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4395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AEEF9-BC71-F577-ECDA-3EE7BF1F8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D844F484-A76B-A5AC-7AAA-B3AD29255B7E}"/>
              </a:ext>
            </a:extLst>
          </p:cNvPr>
          <p:cNvCxnSpPr>
            <a:cxnSpLocks/>
          </p:cNvCxnSpPr>
          <p:nvPr/>
        </p:nvCxnSpPr>
        <p:spPr>
          <a:xfrm>
            <a:off x="85178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B320F934-EE6D-0432-A65C-EF5CE54A53E1}"/>
              </a:ext>
            </a:extLst>
          </p:cNvPr>
          <p:cNvSpPr txBox="1"/>
          <p:nvPr/>
        </p:nvSpPr>
        <p:spPr>
          <a:xfrm>
            <a:off x="6188180" y="1461741"/>
            <a:ext cx="4277410" cy="1117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cales </a:t>
            </a:r>
            <a:r>
              <a:rPr lang="en-GB" b="1" dirty="0"/>
              <a:t>&lt; 1000 km are</a:t>
            </a:r>
            <a:r>
              <a:rPr lang="it-IT" sz="1749" b="1" dirty="0"/>
              <a:t> </a:t>
            </a:r>
            <a:r>
              <a:rPr lang="it-IT" sz="1749" b="1" dirty="0" err="1"/>
              <a:t>important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in the global energy budget!</a:t>
            </a:r>
          </a:p>
          <a:p>
            <a:pPr algn="ctr"/>
            <a:r>
              <a:rPr lang="it-IT" sz="1555" i="1" dirty="0"/>
              <a:t>(Renault et al. 2023, </a:t>
            </a:r>
            <a:r>
              <a:rPr lang="it-IT" sz="1555" i="1" dirty="0" err="1"/>
              <a:t>Seo</a:t>
            </a:r>
            <a:r>
              <a:rPr lang="it-IT" sz="1555" i="1" dirty="0"/>
              <a:t> et al. 2023, </a:t>
            </a:r>
          </a:p>
          <a:p>
            <a:pPr algn="ctr"/>
            <a:r>
              <a:rPr lang="it-IT" sz="1555" i="1" dirty="0"/>
              <a:t>Bishop et al. 2020)</a:t>
            </a:r>
            <a:endParaRPr lang="it-IT" sz="1749" i="1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1C85BFB-7C60-F9EB-7678-DBC1E18D246A}"/>
              </a:ext>
            </a:extLst>
          </p:cNvPr>
          <p:cNvSpPr txBox="1"/>
          <p:nvPr/>
        </p:nvSpPr>
        <p:spPr>
          <a:xfrm>
            <a:off x="6435591" y="2845219"/>
            <a:ext cx="3999086" cy="14382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Thermal feedback TFB</a:t>
            </a:r>
          </a:p>
          <a:p>
            <a:pPr algn="ctr"/>
            <a:r>
              <a:rPr lang="it-IT" sz="1749" dirty="0" err="1"/>
              <a:t>Modulates</a:t>
            </a:r>
            <a:r>
              <a:rPr lang="it-IT" sz="1749" dirty="0"/>
              <a:t> </a:t>
            </a:r>
            <a:r>
              <a:rPr lang="it-IT" sz="1749" dirty="0" err="1"/>
              <a:t>local</a:t>
            </a:r>
            <a:r>
              <a:rPr lang="it-IT" sz="1749" dirty="0"/>
              <a:t> air temperature, </a:t>
            </a:r>
            <a:r>
              <a:rPr lang="it-IT" sz="1749" dirty="0" err="1"/>
              <a:t>stability</a:t>
            </a:r>
            <a:r>
              <a:rPr lang="it-IT" sz="1749" dirty="0"/>
              <a:t> and </a:t>
            </a:r>
            <a:r>
              <a:rPr lang="it-IT" sz="1749" dirty="0" err="1"/>
              <a:t>circulation</a:t>
            </a:r>
            <a:r>
              <a:rPr lang="it-IT" sz="1749" dirty="0"/>
              <a:t> </a:t>
            </a:r>
            <a:r>
              <a:rPr lang="it-IT" sz="1749" dirty="0" err="1"/>
              <a:t>through</a:t>
            </a:r>
            <a:r>
              <a:rPr lang="it-IT" sz="1749" dirty="0"/>
              <a:t> </a:t>
            </a:r>
            <a:r>
              <a:rPr lang="it-IT" sz="1749" dirty="0" err="1"/>
              <a:t>modified</a:t>
            </a:r>
            <a:r>
              <a:rPr lang="it-IT" sz="1749" dirty="0"/>
              <a:t> </a:t>
            </a:r>
            <a:r>
              <a:rPr lang="it-IT" sz="1749" dirty="0" err="1"/>
              <a:t>thermodynamic</a:t>
            </a:r>
            <a:r>
              <a:rPr lang="it-IT" sz="1749" dirty="0"/>
              <a:t> </a:t>
            </a:r>
            <a:r>
              <a:rPr lang="it-IT" sz="1749" dirty="0" err="1"/>
              <a:t>fluxes</a:t>
            </a:r>
            <a:endParaRPr lang="it-IT" sz="1749" dirty="0"/>
          </a:p>
          <a:p>
            <a:pPr algn="ctr"/>
            <a:r>
              <a:rPr lang="it-IT" sz="1400" i="1" dirty="0"/>
              <a:t>(Acquistapace et al. 2022)</a:t>
            </a:r>
            <a:endParaRPr lang="it-IT" sz="1749" i="1" dirty="0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6994661-33F6-B86E-93C0-F30159E78FB6}"/>
              </a:ext>
            </a:extLst>
          </p:cNvPr>
          <p:cNvSpPr txBox="1"/>
          <p:nvPr/>
        </p:nvSpPr>
        <p:spPr>
          <a:xfrm>
            <a:off x="1353054" y="5226401"/>
            <a:ext cx="2658548" cy="5111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361" dirty="0"/>
              <a:t>Sea </a:t>
            </a:r>
            <a:r>
              <a:rPr lang="it-IT" sz="1361" dirty="0" err="1"/>
              <a:t>Sfc</a:t>
            </a:r>
            <a:r>
              <a:rPr lang="it-IT" sz="1361" dirty="0"/>
              <a:t>. </a:t>
            </a:r>
            <a:r>
              <a:rPr lang="it-IT" sz="1361" dirty="0" err="1"/>
              <a:t>currents</a:t>
            </a:r>
            <a:r>
              <a:rPr lang="it-IT" sz="1361" dirty="0"/>
              <a:t> on 25° </a:t>
            </a:r>
            <a:r>
              <a:rPr lang="it-IT" sz="1361" dirty="0" err="1"/>
              <a:t>Jan</a:t>
            </a:r>
            <a:r>
              <a:rPr lang="it-IT" sz="1361" dirty="0"/>
              <a:t> 2020</a:t>
            </a:r>
          </a:p>
          <a:p>
            <a:pPr algn="ctr"/>
            <a:r>
              <a:rPr lang="it-IT" sz="1361" dirty="0"/>
              <a:t> </a:t>
            </a:r>
            <a:r>
              <a:rPr lang="it-IT" sz="1361" dirty="0" err="1">
                <a:hlinkClick r:id="rId2"/>
              </a:rPr>
              <a:t>earth.null.school</a:t>
            </a:r>
            <a:endParaRPr lang="it-IT" sz="1361" dirty="0"/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8F1C1835-D9A8-1FCF-693D-6D323901D24F}"/>
              </a:ext>
            </a:extLst>
          </p:cNvPr>
          <p:cNvGrpSpPr/>
          <p:nvPr/>
        </p:nvGrpSpPr>
        <p:grpSpPr>
          <a:xfrm>
            <a:off x="1023387" y="1600200"/>
            <a:ext cx="3616908" cy="3256931"/>
            <a:chOff x="4965983" y="1518849"/>
            <a:chExt cx="3616908" cy="3256931"/>
          </a:xfrm>
        </p:grpSpPr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B6293BB9-EC55-B476-5426-9A4A5306E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16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65983" y="1518849"/>
              <a:ext cx="3616908" cy="3256931"/>
            </a:xfrm>
            <a:prstGeom prst="rect">
              <a:avLst/>
            </a:prstGeom>
          </p:spPr>
        </p:pic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C3B7E60C-2D8D-95E4-D79E-FF791BA60D92}"/>
                </a:ext>
              </a:extLst>
            </p:cNvPr>
            <p:cNvSpPr/>
            <p:nvPr/>
          </p:nvSpPr>
          <p:spPr>
            <a:xfrm>
              <a:off x="5054882" y="1943527"/>
              <a:ext cx="1822167" cy="1782135"/>
            </a:xfrm>
            <a:prstGeom prst="rect">
              <a:avLst/>
            </a:prstGeom>
            <a:noFill/>
            <a:ln>
              <a:solidFill>
                <a:srgbClr val="FF339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 dirty="0"/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A3711E6-DC90-CCE3-ED6D-55346BD8DE45}"/>
              </a:ext>
            </a:extLst>
          </p:cNvPr>
          <p:cNvGrpSpPr/>
          <p:nvPr/>
        </p:nvGrpSpPr>
        <p:grpSpPr>
          <a:xfrm>
            <a:off x="4931861" y="4531104"/>
            <a:ext cx="7123480" cy="1763569"/>
            <a:chOff x="4931861" y="4531104"/>
            <a:chExt cx="7123480" cy="1763569"/>
          </a:xfrm>
        </p:grpSpPr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B748EDDA-201D-3789-860E-7B2D8AF02383}"/>
                </a:ext>
              </a:extLst>
            </p:cNvPr>
            <p:cNvSpPr txBox="1"/>
            <p:nvPr/>
          </p:nvSpPr>
          <p:spPr>
            <a:xfrm>
              <a:off x="4931861" y="4619891"/>
              <a:ext cx="7123480" cy="167478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pic>
          <p:nvPicPr>
            <p:cNvPr id="30" name="Elemento grafico 29" descr="Punto interrogativo">
              <a:extLst>
                <a:ext uri="{FF2B5EF4-FFF2-40B4-BE49-F238E27FC236}">
                  <a16:creationId xmlns:a16="http://schemas.microsoft.com/office/drawing/2014/main" id="{E20EEF1A-49D9-A648-8666-F44AD9661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08543" y="4531104"/>
              <a:ext cx="1674782" cy="1674782"/>
            </a:xfrm>
            <a:prstGeom prst="rect">
              <a:avLst/>
            </a:prstGeom>
          </p:spPr>
        </p:pic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8C075EAA-430B-F4C9-D431-22A4CFDC8907}"/>
                </a:ext>
              </a:extLst>
            </p:cNvPr>
            <p:cNvSpPr txBox="1"/>
            <p:nvPr/>
          </p:nvSpPr>
          <p:spPr>
            <a:xfrm>
              <a:off x="6435591" y="4835653"/>
              <a:ext cx="56197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SST </a:t>
              </a:r>
              <a:r>
                <a:rPr lang="it-IT" dirty="0" err="1"/>
                <a:t>variability</a:t>
              </a:r>
              <a:r>
                <a:rPr lang="it-IT" dirty="0"/>
                <a:t> act to modulate </a:t>
              </a:r>
              <a:r>
                <a:rPr lang="it-IT" dirty="0" err="1"/>
                <a:t>surface</a:t>
              </a:r>
              <a:r>
                <a:rPr lang="it-IT" dirty="0"/>
                <a:t> </a:t>
              </a:r>
              <a:r>
                <a:rPr lang="it-IT" dirty="0" err="1"/>
                <a:t>fluxes</a:t>
              </a:r>
              <a:r>
                <a:rPr lang="it-IT" dirty="0"/>
                <a:t> and </a:t>
              </a:r>
              <a:r>
                <a:rPr lang="it-IT" dirty="0" err="1"/>
                <a:t>hence</a:t>
              </a:r>
              <a:r>
                <a:rPr lang="it-IT" dirty="0"/>
                <a:t> the </a:t>
              </a:r>
              <a:r>
                <a:rPr lang="it-IT" dirty="0" err="1"/>
                <a:t>lower</a:t>
              </a:r>
              <a:r>
                <a:rPr lang="it-IT" dirty="0"/>
                <a:t> </a:t>
              </a:r>
              <a:r>
                <a:rPr lang="it-IT" dirty="0" err="1"/>
                <a:t>tropospheric</a:t>
              </a:r>
              <a:r>
                <a:rPr lang="it-IT" dirty="0"/>
                <a:t> </a:t>
              </a:r>
              <a:r>
                <a:rPr lang="it-IT" dirty="0" err="1"/>
                <a:t>response</a:t>
              </a:r>
              <a:r>
                <a:rPr lang="it-IT" dirty="0"/>
                <a:t>?</a:t>
              </a:r>
              <a:endParaRPr lang="en-GB" dirty="0"/>
            </a:p>
          </p:txBody>
        </p:sp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016C91CB-20E7-F494-D1C6-214D8C34C143}"/>
                </a:ext>
              </a:extLst>
            </p:cNvPr>
            <p:cNvSpPr txBox="1"/>
            <p:nvPr/>
          </p:nvSpPr>
          <p:spPr>
            <a:xfrm>
              <a:off x="6435591" y="5611911"/>
              <a:ext cx="5619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How </a:t>
              </a:r>
              <a:r>
                <a:rPr lang="it-IT" dirty="0" err="1"/>
                <a:t>does</a:t>
              </a:r>
              <a:r>
                <a:rPr lang="it-IT" dirty="0"/>
                <a:t> the </a:t>
              </a:r>
              <a:r>
                <a:rPr lang="it-IT" dirty="0" err="1"/>
                <a:t>importance</a:t>
              </a:r>
              <a:r>
                <a:rPr lang="it-IT" dirty="0"/>
                <a:t> of SST </a:t>
              </a:r>
              <a:r>
                <a:rPr lang="it-IT" dirty="0" err="1"/>
                <a:t>change</a:t>
              </a:r>
              <a:r>
                <a:rPr lang="it-IT" dirty="0"/>
                <a:t> with </a:t>
              </a:r>
              <a:r>
                <a:rPr lang="it-IT" dirty="0" err="1"/>
                <a:t>scales</a:t>
              </a:r>
              <a:r>
                <a:rPr lang="it-IT" dirty="0"/>
                <a:t>?</a:t>
              </a:r>
              <a:endParaRPr lang="en-GB" dirty="0"/>
            </a:p>
          </p:txBody>
        </p:sp>
      </p:grpSp>
      <p:sp>
        <p:nvSpPr>
          <p:cNvPr id="33" name="Titolo 5">
            <a:extLst>
              <a:ext uri="{FF2B5EF4-FFF2-40B4-BE49-F238E27FC236}">
                <a16:creationId xmlns:a16="http://schemas.microsoft.com/office/drawing/2014/main" id="{314AD738-CB27-90E5-38E2-F700FE8655A3}"/>
              </a:ext>
            </a:extLst>
          </p:cNvPr>
          <p:cNvSpPr txBox="1">
            <a:spLocks/>
          </p:cNvSpPr>
          <p:nvPr/>
        </p:nvSpPr>
        <p:spPr>
          <a:xfrm>
            <a:off x="876612" y="199159"/>
            <a:ext cx="5957752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he sub- / mesoscale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upling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C541B5BE-59A6-64DF-20A5-ACECE64C2B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6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83E304-1C8F-9DAF-1F9F-078CD5230C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1FBA8136-4738-D1C3-DC0A-1FDF5C1E99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956" y="1262267"/>
            <a:ext cx="3605898" cy="304203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81DB74AD-469B-AAFC-59AE-9F5D388DBD69}"/>
              </a:ext>
            </a:extLst>
          </p:cNvPr>
          <p:cNvSpPr txBox="1"/>
          <p:nvPr/>
        </p:nvSpPr>
        <p:spPr>
          <a:xfrm>
            <a:off x="1549651" y="4929075"/>
            <a:ext cx="3684889" cy="1525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55" i="1" dirty="0" err="1"/>
              <a:t>starring</a:t>
            </a:r>
            <a:r>
              <a:rPr lang="it-IT" sz="1555" i="1" dirty="0"/>
              <a:t>:</a:t>
            </a:r>
          </a:p>
          <a:p>
            <a:endParaRPr lang="it-IT" sz="1555" i="1" dirty="0"/>
          </a:p>
          <a:p>
            <a:r>
              <a:rPr lang="it-IT" sz="1555" i="1" dirty="0"/>
              <a:t>Stevens et al. 2002</a:t>
            </a:r>
          </a:p>
          <a:p>
            <a:r>
              <a:rPr lang="it-IT" sz="1555" i="1" dirty="0" err="1"/>
              <a:t>Neggers</a:t>
            </a:r>
            <a:r>
              <a:rPr lang="it-IT" sz="1555" i="1" dirty="0"/>
              <a:t> et al. 2006</a:t>
            </a:r>
          </a:p>
          <a:p>
            <a:r>
              <a:rPr lang="it-IT" sz="1555" i="1" dirty="0"/>
              <a:t>Naumann et al. 2019</a:t>
            </a:r>
          </a:p>
          <a:p>
            <a:endParaRPr lang="en-GB" sz="1555" i="1" dirty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DC56209E-04C6-F296-1300-E97C91F40DDD}"/>
              </a:ext>
            </a:extLst>
          </p:cNvPr>
          <p:cNvCxnSpPr>
            <a:cxnSpLocks/>
          </p:cNvCxnSpPr>
          <p:nvPr/>
        </p:nvCxnSpPr>
        <p:spPr>
          <a:xfrm>
            <a:off x="832738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A0A009-5590-73E1-10F7-FB8406937E78}"/>
              </a:ext>
            </a:extLst>
          </p:cNvPr>
          <p:cNvSpPr txBox="1"/>
          <p:nvPr/>
        </p:nvSpPr>
        <p:spPr>
          <a:xfrm>
            <a:off x="1056445" y="4401121"/>
            <a:ext cx="2958920" cy="628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944" i="1" dirty="0" err="1"/>
              <a:t>Conceptual</a:t>
            </a:r>
            <a:r>
              <a:rPr lang="it-IT" sz="1944" i="1" dirty="0"/>
              <a:t> Bulk model</a:t>
            </a:r>
            <a:r>
              <a:rPr lang="it-IT" sz="1555" i="1" dirty="0"/>
              <a:t> </a:t>
            </a:r>
          </a:p>
          <a:p>
            <a:endParaRPr lang="en-GB" sz="1555" i="1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EC46C88-4A41-EE9E-D53E-75E11E04A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2996" y="1026833"/>
            <a:ext cx="5142559" cy="4919662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6AC6B0-B365-0B38-3CF5-458E8BC639FC}"/>
              </a:ext>
            </a:extLst>
          </p:cNvPr>
          <p:cNvSpPr txBox="1"/>
          <p:nvPr/>
        </p:nvSpPr>
        <p:spPr>
          <a:xfrm>
            <a:off x="1290854" y="176115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minimal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ysics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pproach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86C5E986-5D94-E687-DA7B-73ED1357B0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030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833D9A1A-82F0-8408-6BED-6739C9443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63" y="825927"/>
            <a:ext cx="4958237" cy="5680530"/>
          </a:xfrm>
          <a:prstGeom prst="rect">
            <a:avLst/>
          </a:prstGeom>
        </p:spPr>
      </p:pic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6331E7DD-96E0-8521-4B50-01DF4FBC82A0}"/>
              </a:ext>
            </a:extLst>
          </p:cNvPr>
          <p:cNvCxnSpPr>
            <a:cxnSpLocks/>
          </p:cNvCxnSpPr>
          <p:nvPr/>
        </p:nvCxnSpPr>
        <p:spPr>
          <a:xfrm>
            <a:off x="83206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/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i="1">
                          <a:latin typeface="Cambria Math" panose="02040503050406030204" pitchFamily="18" charset="0"/>
                        </a:rPr>
                        <m:t>𝐿𝐻𝐹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𝑈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 [</m:t>
                      </m:r>
                      <m:sSup>
                        <m:sSup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it-IT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𝑆𝑇</m:t>
                          </m:r>
                        </m:e>
                      </m:d>
                      <m:r>
                        <a:rPr lang="it-IT" sz="2400" i="1">
                          <a:latin typeface="Cambria Math" panose="02040503050406030204" pitchFamily="18" charset="0"/>
                        </a:rPr>
                        <m:t> −⟨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it-IT" sz="2400" i="1">
                          <a:latin typeface="Cambria Math" panose="02040503050406030204" pitchFamily="18" charset="0"/>
                        </a:rPr>
                        <m:t>⟩]</m:t>
                      </m:r>
                    </m:oMath>
                  </m:oMathPara>
                </a14:m>
                <a:endParaRPr lang="it-IT" sz="2400" dirty="0"/>
              </a:p>
              <a:p>
                <a:endParaRPr lang="it-IT" sz="2400" dirty="0"/>
              </a:p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p>
                        <m:r>
                          <a:rPr lang="it-IT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𝑆𝑆𝑇</m:t>
                        </m:r>
                      </m:e>
                    </m:d>
                  </m:oMath>
                </a14:m>
                <a:r>
                  <a:rPr lang="it-IT" dirty="0"/>
                  <a:t>   </a:t>
                </a:r>
                <a:r>
                  <a:rPr lang="it-IT" dirty="0" err="1"/>
                  <a:t>is</a:t>
                </a:r>
                <a:r>
                  <a:rPr lang="it-IT" dirty="0"/>
                  <a:t> the water </a:t>
                </a:r>
                <a:r>
                  <a:rPr lang="it-IT" dirty="0" err="1"/>
                  <a:t>vapour</a:t>
                </a:r>
                <a:r>
                  <a:rPr lang="it-IT" dirty="0"/>
                  <a:t> mixing ratio </a:t>
                </a:r>
                <a:r>
                  <a:rPr lang="it-IT" dirty="0" err="1"/>
                  <a:t>at</a:t>
                </a:r>
                <a:r>
                  <a:rPr lang="it-IT" dirty="0"/>
                  <a:t> </a:t>
                </a:r>
                <a:r>
                  <a:rPr lang="it-IT" dirty="0" err="1"/>
                  <a:t>saturation</a:t>
                </a:r>
                <a:endParaRPr lang="it-IT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9F70403F-BC0F-B21F-61D7-F938078E8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5997" y="3430835"/>
                <a:ext cx="4349206" cy="1384995"/>
              </a:xfrm>
              <a:prstGeom prst="rect">
                <a:avLst/>
              </a:prstGeom>
              <a:blipFill>
                <a:blip r:embed="rId3"/>
                <a:stretch>
                  <a:fillRect r="-2104" b="-61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e 9">
            <a:extLst>
              <a:ext uri="{FF2B5EF4-FFF2-40B4-BE49-F238E27FC236}">
                <a16:creationId xmlns:a16="http://schemas.microsoft.com/office/drawing/2014/main" id="{95520413-CC74-06C4-5579-51AE85CF243A}"/>
              </a:ext>
            </a:extLst>
          </p:cNvPr>
          <p:cNvSpPr/>
          <p:nvPr/>
        </p:nvSpPr>
        <p:spPr>
          <a:xfrm>
            <a:off x="1128542" y="1847159"/>
            <a:ext cx="1435302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2C1D2604-F233-E86E-6F9F-720FE87A3E19}"/>
              </a:ext>
            </a:extLst>
          </p:cNvPr>
          <p:cNvSpPr/>
          <p:nvPr/>
        </p:nvSpPr>
        <p:spPr>
          <a:xfrm>
            <a:off x="3524827" y="1834682"/>
            <a:ext cx="132132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58BB770F-8280-ED00-11C7-EC0CF3D4961B}"/>
              </a:ext>
            </a:extLst>
          </p:cNvPr>
          <p:cNvSpPr/>
          <p:nvPr/>
        </p:nvSpPr>
        <p:spPr>
          <a:xfrm>
            <a:off x="3437679" y="4667693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D1A74B26-3217-6E61-5FD4-5F1A3C5ADA50}"/>
              </a:ext>
            </a:extLst>
          </p:cNvPr>
          <p:cNvSpPr/>
          <p:nvPr/>
        </p:nvSpPr>
        <p:spPr>
          <a:xfrm>
            <a:off x="1068581" y="4646612"/>
            <a:ext cx="1425841" cy="757812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AEC94D6B-9FB7-53B7-1724-6D172DDC2F98}"/>
              </a:ext>
            </a:extLst>
          </p:cNvPr>
          <p:cNvSpPr txBox="1"/>
          <p:nvPr/>
        </p:nvSpPr>
        <p:spPr>
          <a:xfrm>
            <a:off x="6294983" y="1369149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800" b="1" dirty="0"/>
              <a:t>High-</a:t>
            </a:r>
            <a:r>
              <a:rPr lang="it-IT" sz="1800" b="1" dirty="0" err="1"/>
              <a:t>resolution</a:t>
            </a:r>
            <a:r>
              <a:rPr lang="it-IT" sz="1800" b="1" dirty="0"/>
              <a:t> WRF </a:t>
            </a:r>
            <a:r>
              <a:rPr lang="it-IT" sz="1800" b="1" dirty="0" err="1"/>
              <a:t>simulation</a:t>
            </a:r>
            <a:r>
              <a:rPr lang="it-IT" sz="1800" dirty="0"/>
              <a:t>: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Gridspace</a:t>
            </a:r>
            <a:r>
              <a:rPr lang="it-IT" sz="1800" dirty="0"/>
              <a:t>  3km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SST forcing</a:t>
            </a:r>
          </a:p>
          <a:p>
            <a:pPr marL="277720" indent="-277720">
              <a:buFontTx/>
              <a:buChar char="-"/>
            </a:pPr>
            <a:r>
              <a:rPr lang="it-IT" sz="1800" dirty="0" err="1"/>
              <a:t>Daily</a:t>
            </a:r>
            <a:r>
              <a:rPr lang="it-IT" sz="1800" dirty="0"/>
              <a:t> </a:t>
            </a:r>
            <a:r>
              <a:rPr lang="it-IT" sz="1800" dirty="0" err="1"/>
              <a:t>averages</a:t>
            </a:r>
            <a:r>
              <a:rPr lang="it-IT" sz="1800" dirty="0"/>
              <a:t> in </a:t>
            </a:r>
            <a:r>
              <a:rPr lang="it-IT" sz="1800" dirty="0" err="1"/>
              <a:t>February</a:t>
            </a:r>
            <a:r>
              <a:rPr lang="it-IT" sz="1800" dirty="0"/>
              <a:t> 2020</a:t>
            </a:r>
          </a:p>
          <a:p>
            <a:pPr marL="277720" indent="-277720">
              <a:buFontTx/>
              <a:buChar char="-"/>
            </a:pPr>
            <a:r>
              <a:rPr lang="it-IT" sz="1800" dirty="0"/>
              <a:t>EUREC4A </a:t>
            </a:r>
            <a:r>
              <a:rPr lang="it-IT" sz="1800" dirty="0" err="1"/>
              <a:t>region</a:t>
            </a:r>
            <a:r>
              <a:rPr lang="it-IT" sz="1800" dirty="0"/>
              <a:t>  </a:t>
            </a:r>
            <a:r>
              <a:rPr lang="it-IT" sz="1200" dirty="0"/>
              <a:t>(</a:t>
            </a:r>
            <a:r>
              <a:rPr lang="it-IT" sz="1200" i="1" dirty="0"/>
              <a:t>Stevens et al. 2021)</a:t>
            </a:r>
            <a:endParaRPr lang="en-GB" sz="1800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2C4C836A-3392-62C8-6F2E-21B731B87FAA}"/>
              </a:ext>
            </a:extLst>
          </p:cNvPr>
          <p:cNvSpPr txBox="1"/>
          <p:nvPr/>
        </p:nvSpPr>
        <p:spPr>
          <a:xfrm>
            <a:off x="1164655" y="187702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t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mplex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) set-up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D3F91F5A-486B-BD30-4545-BB2AC5B90E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459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>
            <a:extLst>
              <a:ext uri="{FF2B5EF4-FFF2-40B4-BE49-F238E27FC236}">
                <a16:creationId xmlns:a16="http://schemas.microsoft.com/office/drawing/2014/main" id="{4F01CB1F-05AE-B8CD-0C67-CEDBE6AE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0046" y="-1190381"/>
            <a:ext cx="13806367" cy="923876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/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749" dirty="0">
                    <a:solidFill>
                      <a:srgbClr val="FFFF00"/>
                    </a:solidFill>
                  </a:rPr>
                  <a:t>Turbulent </a:t>
                </a:r>
                <a:r>
                  <a:rPr lang="it-IT" sz="1749" dirty="0" err="1">
                    <a:solidFill>
                      <a:srgbClr val="FFFF00"/>
                    </a:solidFill>
                  </a:rPr>
                  <a:t>fluxes</a:t>
                </a:r>
                <a:endParaRPr lang="it-IT" sz="1749" dirty="0">
                  <a:solidFill>
                    <a:srgbClr val="FFFF00"/>
                  </a:solidFill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1749" b="0" i="1" smtClean="0">
                          <a:solidFill>
                            <a:srgbClr val="FFFF00"/>
                          </a:solidFill>
                          <a:latin typeface="Cambria Math" panose="02040503050406030204" pitchFamily="18" charset="0"/>
                        </a:rPr>
                        <m:t> , </m:t>
                      </m:r>
                      <m:sSub>
                        <m:sSubPr>
                          <m:ctrlP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1749" b="0" i="1" smtClean="0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1749" dirty="0">
                  <a:solidFill>
                    <a:srgbClr val="FFFF00"/>
                  </a:solidFill>
                </a:endParaRPr>
              </a:p>
            </p:txBody>
          </p:sp>
        </mc:Choice>
        <mc:Fallback xmlns="">
          <p:sp>
            <p:nvSpPr>
              <p:cNvPr id="49" name="CasellaDiTesto 48">
                <a:extLst>
                  <a:ext uri="{FF2B5EF4-FFF2-40B4-BE49-F238E27FC236}">
                    <a16:creationId xmlns:a16="http://schemas.microsoft.com/office/drawing/2014/main" id="{49166B14-41C4-6149-E689-EFE49B30F8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9331" y="4558001"/>
                <a:ext cx="1948536" cy="651525"/>
              </a:xfrm>
              <a:prstGeom prst="rect">
                <a:avLst/>
              </a:prstGeom>
              <a:blipFill>
                <a:blip r:embed="rId4"/>
                <a:stretch>
                  <a:fillRect t="-28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26E2E92-2B18-52FC-711A-0ECD6E720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6E8FE-BAF5-4F25-A070-95EFCE784FE8}" type="slidenum">
              <a:rPr lang="en-GB" smtClean="0"/>
              <a:t>2</a:t>
            </a:fld>
            <a:endParaRPr lang="en-GB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C425D67-12BE-9072-4448-A5C0F94AD732}"/>
              </a:ext>
            </a:extLst>
          </p:cNvPr>
          <p:cNvSpPr txBox="1"/>
          <p:nvPr/>
        </p:nvSpPr>
        <p:spPr>
          <a:xfrm>
            <a:off x="10286892" y="3399485"/>
            <a:ext cx="23998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/>
              <a:t>Boundary</a:t>
            </a:r>
            <a:r>
              <a:rPr lang="it-IT" sz="2000" dirty="0"/>
              <a:t> Layer  Top</a:t>
            </a:r>
          </a:p>
        </p:txBody>
      </p:sp>
      <p:grpSp>
        <p:nvGrpSpPr>
          <p:cNvPr id="142" name="Gruppo 141">
            <a:extLst>
              <a:ext uri="{FF2B5EF4-FFF2-40B4-BE49-F238E27FC236}">
                <a16:creationId xmlns:a16="http://schemas.microsoft.com/office/drawing/2014/main" id="{C47EFCB0-D2BD-222F-85E3-E8E836D445CF}"/>
              </a:ext>
            </a:extLst>
          </p:cNvPr>
          <p:cNvGrpSpPr/>
          <p:nvPr/>
        </p:nvGrpSpPr>
        <p:grpSpPr>
          <a:xfrm>
            <a:off x="444027" y="4738397"/>
            <a:ext cx="5024504" cy="842026"/>
            <a:chOff x="482471" y="4716116"/>
            <a:chExt cx="5024504" cy="842026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14:cNvPr>
                <p14:cNvContentPartPr/>
                <p14:nvPr/>
              </p14:nvContentPartPr>
              <p14:xfrm rot="275284">
                <a:off x="2567504" y="4783993"/>
                <a:ext cx="2939471" cy="774149"/>
              </p14:xfrm>
            </p:contentPart>
          </mc:Choice>
          <mc:Fallback xmlns="">
            <p:pic>
              <p:nvPicPr>
                <p:cNvPr id="80" name="Input penna 79">
                  <a:extLst>
                    <a:ext uri="{FF2B5EF4-FFF2-40B4-BE49-F238E27FC236}">
                      <a16:creationId xmlns:a16="http://schemas.microsoft.com/office/drawing/2014/main" id="{691DDE36-62DD-A272-CED6-4D3F39A50749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 rot="275284">
                  <a:off x="2504502" y="4721010"/>
                  <a:ext cx="3065114" cy="899755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40" name="Gruppo 139">
              <a:extLst>
                <a:ext uri="{FF2B5EF4-FFF2-40B4-BE49-F238E27FC236}">
                  <a16:creationId xmlns:a16="http://schemas.microsoft.com/office/drawing/2014/main" id="{693AB83C-BF6F-EB6C-47B4-A61764E8F04A}"/>
                </a:ext>
              </a:extLst>
            </p:cNvPr>
            <p:cNvGrpSpPr/>
            <p:nvPr/>
          </p:nvGrpSpPr>
          <p:grpSpPr>
            <a:xfrm>
              <a:off x="482471" y="4716116"/>
              <a:ext cx="4413351" cy="801720"/>
              <a:chOff x="635737" y="4726556"/>
              <a:chExt cx="5877397" cy="1208520"/>
            </a:xfrm>
          </p:grpSpPr>
          <p:grpSp>
            <p:nvGrpSpPr>
              <p:cNvPr id="89" name="Gruppo 88">
                <a:extLst>
                  <a:ext uri="{FF2B5EF4-FFF2-40B4-BE49-F238E27FC236}">
                    <a16:creationId xmlns:a16="http://schemas.microsoft.com/office/drawing/2014/main" id="{530922E8-1B38-193B-A176-A0B4E3C42D13}"/>
                  </a:ext>
                </a:extLst>
              </p:cNvPr>
              <p:cNvGrpSpPr/>
              <p:nvPr/>
            </p:nvGrpSpPr>
            <p:grpSpPr>
              <a:xfrm>
                <a:off x="635737" y="4808636"/>
                <a:ext cx="4064400" cy="1126440"/>
                <a:chOff x="635737" y="4808636"/>
                <a:chExt cx="4064400" cy="112644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7">
                  <p14:nvContentPartPr>
                    <p14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35737" y="4808636"/>
                    <a:ext cx="4064400" cy="1126440"/>
                  </p14:xfrm>
                </p:contentPart>
              </mc:Choice>
              <mc:Fallback xmlns="">
                <p:pic>
                  <p:nvPicPr>
                    <p:cNvPr id="81" name="Input penna 80">
                      <a:extLst>
                        <a:ext uri="{FF2B5EF4-FFF2-40B4-BE49-F238E27FC236}">
                          <a16:creationId xmlns:a16="http://schemas.microsoft.com/office/drawing/2014/main" id="{EFE98824-B98C-D509-6160-74D08537B700}"/>
                        </a:ext>
                      </a:extLst>
                    </p:cNvPr>
                    <p:cNvPicPr/>
                    <p:nvPr/>
                  </p:nvPicPr>
                  <p:blipFill>
                    <a:blip r:embed="rId8"/>
                    <a:stretch>
                      <a:fillRect/>
                    </a:stretch>
                  </p:blipFill>
                  <p:spPr>
                    <a:xfrm>
                      <a:off x="552320" y="4714223"/>
                      <a:ext cx="4231713" cy="131580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9">
                  <p14:nvContentPartPr>
                    <p14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12257" y="5780276"/>
                    <a:ext cx="166320" cy="29160"/>
                  </p14:xfrm>
                </p:contentPart>
              </mc:Choice>
              <mc:Fallback xmlns="">
                <p:pic>
                  <p:nvPicPr>
                    <p:cNvPr id="82" name="Input penna 81">
                      <a:extLst>
                        <a:ext uri="{FF2B5EF4-FFF2-40B4-BE49-F238E27FC236}">
                          <a16:creationId xmlns:a16="http://schemas.microsoft.com/office/drawing/2014/main" id="{B3533DE7-7D95-A90C-AA1C-73D38C8FFEDC}"/>
                        </a:ext>
                      </a:extLst>
                    </p:cNvPr>
                    <p:cNvPicPr/>
                    <p:nvPr/>
                  </p:nvPicPr>
                  <p:blipFill>
                    <a:blip r:embed="rId10"/>
                    <a:stretch>
                      <a:fillRect/>
                    </a:stretch>
                  </p:blipFill>
                  <p:spPr>
                    <a:xfrm>
                      <a:off x="3128857" y="5685776"/>
                      <a:ext cx="333599" cy="2176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1">
                  <p14:nvContentPartPr>
                    <p14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71817" y="5220476"/>
                    <a:ext cx="2226600" cy="604440"/>
                  </p14:xfrm>
                </p:contentPart>
              </mc:Choice>
              <mc:Fallback xmlns="">
                <p:pic>
                  <p:nvPicPr>
                    <p:cNvPr id="83" name="Input penna 82">
                      <a:extLst>
                        <a:ext uri="{FF2B5EF4-FFF2-40B4-BE49-F238E27FC236}">
                          <a16:creationId xmlns:a16="http://schemas.microsoft.com/office/drawing/2014/main" id="{3CEB423E-374A-0E0B-56B9-08ED677BC683}"/>
                        </a:ext>
                      </a:extLst>
                    </p:cNvPr>
                    <p:cNvPicPr/>
                    <p:nvPr/>
                  </p:nvPicPr>
                  <p:blipFill>
                    <a:blip r:embed="rId12"/>
                    <a:stretch>
                      <a:fillRect/>
                    </a:stretch>
                  </p:blipFill>
                  <p:spPr>
                    <a:xfrm>
                      <a:off x="687930" y="5125524"/>
                      <a:ext cx="2393895" cy="7938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3">
                  <p14:nvContentPartPr>
                    <p14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876937" y="5029316"/>
                    <a:ext cx="608400" cy="253440"/>
                  </p14:xfrm>
                </p:contentPart>
              </mc:Choice>
              <mc:Fallback xmlns="">
                <p:pic>
                  <p:nvPicPr>
                    <p:cNvPr id="84" name="Input penna 83">
                      <a:extLst>
                        <a:ext uri="{FF2B5EF4-FFF2-40B4-BE49-F238E27FC236}">
                          <a16:creationId xmlns:a16="http://schemas.microsoft.com/office/drawing/2014/main" id="{416E48E1-83E8-3DCA-D412-121E5C5FE2B9}"/>
                        </a:ext>
                      </a:extLst>
                    </p:cNvPr>
                    <p:cNvPicPr/>
                    <p:nvPr/>
                  </p:nvPicPr>
                  <p:blipFill>
                    <a:blip r:embed="rId14"/>
                    <a:stretch>
                      <a:fillRect/>
                    </a:stretch>
                  </p:blipFill>
                  <p:spPr>
                    <a:xfrm>
                      <a:off x="793036" y="4934344"/>
                      <a:ext cx="775722" cy="44284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5">
                  <p14:nvContentPartPr>
                    <p14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641857" y="4885316"/>
                    <a:ext cx="2992320" cy="789480"/>
                  </p14:xfrm>
                </p:contentPart>
              </mc:Choice>
              <mc:Fallback xmlns="">
                <p:pic>
                  <p:nvPicPr>
                    <p:cNvPr id="85" name="Input penna 84">
                      <a:extLst>
                        <a:ext uri="{FF2B5EF4-FFF2-40B4-BE49-F238E27FC236}">
                          <a16:creationId xmlns:a16="http://schemas.microsoft.com/office/drawing/2014/main" id="{27A8CFFC-59F8-314F-2529-A92939D5050A}"/>
                        </a:ext>
                      </a:extLst>
                    </p:cNvPr>
                    <p:cNvPicPr/>
                    <p:nvPr/>
                  </p:nvPicPr>
                  <p:blipFill>
                    <a:blip r:embed="rId16"/>
                    <a:stretch>
                      <a:fillRect/>
                    </a:stretch>
                  </p:blipFill>
                  <p:spPr>
                    <a:xfrm>
                      <a:off x="557965" y="4790361"/>
                      <a:ext cx="3159625" cy="9788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7">
                  <p14:nvContentPartPr>
                    <p14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582977" y="5537636"/>
                    <a:ext cx="1545120" cy="249840"/>
                  </p14:xfrm>
                </p:contentPart>
              </mc:Choice>
              <mc:Fallback xmlns="">
                <p:pic>
                  <p:nvPicPr>
                    <p:cNvPr id="86" name="Input penna 85">
                      <a:extLst>
                        <a:ext uri="{FF2B5EF4-FFF2-40B4-BE49-F238E27FC236}">
                          <a16:creationId xmlns:a16="http://schemas.microsoft.com/office/drawing/2014/main" id="{B849FFD6-5192-CC60-9900-320516752350}"/>
                        </a:ext>
                      </a:extLst>
                    </p:cNvPr>
                    <p:cNvPicPr/>
                    <p:nvPr/>
                  </p:nvPicPr>
                  <p:blipFill>
                    <a:blip r:embed="rId18"/>
                    <a:stretch>
                      <a:fillRect/>
                    </a:stretch>
                  </p:blipFill>
                  <p:spPr>
                    <a:xfrm>
                      <a:off x="2499081" y="5442794"/>
                      <a:ext cx="1712432" cy="43898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9">
                  <p14:nvContentPartPr>
                    <p14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239537" y="4889636"/>
                    <a:ext cx="2264760" cy="716760"/>
                  </p14:xfrm>
                </p:contentPart>
              </mc:Choice>
              <mc:Fallback xmlns="">
                <p:pic>
                  <p:nvPicPr>
                    <p:cNvPr id="87" name="Input penna 86">
                      <a:extLst>
                        <a:ext uri="{FF2B5EF4-FFF2-40B4-BE49-F238E27FC236}">
                          <a16:creationId xmlns:a16="http://schemas.microsoft.com/office/drawing/2014/main" id="{D9704054-8F19-7492-26AF-79D321709CA1}"/>
                        </a:ext>
                      </a:extLst>
                    </p:cNvPr>
                    <p:cNvPicPr/>
                    <p:nvPr/>
                  </p:nvPicPr>
                  <p:blipFill>
                    <a:blip r:embed="rId20"/>
                    <a:stretch>
                      <a:fillRect/>
                    </a:stretch>
                  </p:blipFill>
                  <p:spPr>
                    <a:xfrm>
                      <a:off x="2155639" y="4794683"/>
                      <a:ext cx="2432076" cy="90612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21">
                  <p14:nvContentPartPr>
                    <p14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30057" y="5005556"/>
                    <a:ext cx="3486600" cy="817560"/>
                  </p14:xfrm>
                </p:contentPart>
              </mc:Choice>
              <mc:Fallback xmlns="">
                <p:pic>
                  <p:nvPicPr>
                    <p:cNvPr id="88" name="Input penna 87">
                      <a:extLst>
                        <a:ext uri="{FF2B5EF4-FFF2-40B4-BE49-F238E27FC236}">
                          <a16:creationId xmlns:a16="http://schemas.microsoft.com/office/drawing/2014/main" id="{915E76B8-8C2B-B0A6-4904-02DAE5ED433D}"/>
                        </a:ext>
                      </a:extLst>
                    </p:cNvPr>
                    <p:cNvPicPr/>
                    <p:nvPr/>
                  </p:nvPicPr>
                  <p:blipFill>
                    <a:blip r:embed="rId22"/>
                    <a:stretch>
                      <a:fillRect/>
                    </a:stretch>
                  </p:blipFill>
                  <p:spPr>
                    <a:xfrm>
                      <a:off x="646152" y="4910617"/>
                      <a:ext cx="3653930" cy="1006895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grpSp>
            <p:nvGrpSpPr>
              <p:cNvPr id="137" name="Gruppo 136">
                <a:extLst>
                  <a:ext uri="{FF2B5EF4-FFF2-40B4-BE49-F238E27FC236}">
                    <a16:creationId xmlns:a16="http://schemas.microsoft.com/office/drawing/2014/main" id="{CD2E82CB-A010-8ED1-FA41-A942661A2D83}"/>
                  </a:ext>
                </a:extLst>
              </p:cNvPr>
              <p:cNvGrpSpPr/>
              <p:nvPr/>
            </p:nvGrpSpPr>
            <p:grpSpPr>
              <a:xfrm>
                <a:off x="1076414" y="4726556"/>
                <a:ext cx="5436720" cy="1112400"/>
                <a:chOff x="1110217" y="4717916"/>
                <a:chExt cx="5436720" cy="1112400"/>
              </a:xfrm>
            </p:grpSpPr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3">
                  <p14:nvContentPartPr>
                    <p14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10377" y="4963796"/>
                    <a:ext cx="312480" cy="153360"/>
                  </p14:xfrm>
                </p:contentPart>
              </mc:Choice>
              <mc:Fallback xmlns="">
                <p:pic>
                  <p:nvPicPr>
                    <p:cNvPr id="40" name="Input penna 39">
                      <a:extLst>
                        <a:ext uri="{FF2B5EF4-FFF2-40B4-BE49-F238E27FC236}">
                          <a16:creationId xmlns:a16="http://schemas.microsoft.com/office/drawing/2014/main" id="{D11F4B53-1328-A002-5004-3476D8FDD086}"/>
                        </a:ext>
                      </a:extLst>
                    </p:cNvPr>
                    <p:cNvPicPr/>
                    <p:nvPr/>
                  </p:nvPicPr>
                  <p:blipFill>
                    <a:blip r:embed="rId24"/>
                    <a:stretch>
                      <a:fillRect/>
                    </a:stretch>
                  </p:blipFill>
                  <p:spPr>
                    <a:xfrm>
                      <a:off x="3926985" y="4394792"/>
                      <a:ext cx="479743" cy="1290825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5">
                  <p14:nvContentPartPr>
                    <p14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7697" y="5117516"/>
                    <a:ext cx="20520" cy="7560"/>
                  </p14:xfrm>
                </p:contentPart>
              </mc:Choice>
              <mc:Fallback xmlns="">
                <p:pic>
                  <p:nvPicPr>
                    <p:cNvPr id="43" name="Input penna 42">
                      <a:extLst>
                        <a:ext uri="{FF2B5EF4-FFF2-40B4-BE49-F238E27FC236}">
                          <a16:creationId xmlns:a16="http://schemas.microsoft.com/office/drawing/2014/main" id="{97DC3417-71EC-55D8-C037-3ABD31FF0CF3}"/>
                        </a:ext>
                      </a:extLst>
                    </p:cNvPr>
                    <p:cNvPicPr/>
                    <p:nvPr/>
                  </p:nvPicPr>
                  <p:blipFill>
                    <a:blip r:embed="rId26"/>
                    <a:stretch>
                      <a:fillRect/>
                    </a:stretch>
                  </p:blipFill>
                  <p:spPr>
                    <a:xfrm>
                      <a:off x="4084185" y="4550516"/>
                      <a:ext cx="187066" cy="11410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7">
                  <p14:nvContentPartPr>
                    <p14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305937" y="5206796"/>
                    <a:ext cx="302040" cy="82080"/>
                  </p14:xfrm>
                </p:contentPart>
              </mc:Choice>
              <mc:Fallback xmlns="">
                <p:pic>
                  <p:nvPicPr>
                    <p:cNvPr id="52" name="Input penna 51">
                      <a:extLst>
                        <a:ext uri="{FF2B5EF4-FFF2-40B4-BE49-F238E27FC236}">
                          <a16:creationId xmlns:a16="http://schemas.microsoft.com/office/drawing/2014/main" id="{7191C5BA-0E2E-4F79-8A8B-35740B59021B}"/>
                        </a:ext>
                      </a:extLst>
                    </p:cNvPr>
                    <p:cNvPicPr/>
                    <p:nvPr/>
                  </p:nvPicPr>
                  <p:blipFill>
                    <a:blip r:embed="rId28"/>
                    <a:stretch>
                      <a:fillRect/>
                    </a:stretch>
                  </p:blipFill>
                  <p:spPr>
                    <a:xfrm>
                      <a:off x="4222516" y="4636041"/>
                      <a:ext cx="469361" cy="12230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29">
                  <p14:nvContentPartPr>
                    <p14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025137" y="5048396"/>
                    <a:ext cx="19080" cy="18360"/>
                  </p14:xfrm>
                </p:contentPart>
              </mc:Choice>
              <mc:Fallback xmlns="">
                <p:pic>
                  <p:nvPicPr>
                    <p:cNvPr id="53" name="Input penna 52">
                      <a:extLst>
                        <a:ext uri="{FF2B5EF4-FFF2-40B4-BE49-F238E27FC236}">
                          <a16:creationId xmlns:a16="http://schemas.microsoft.com/office/drawing/2014/main" id="{0163A93D-CA77-978A-88F2-7C869E051FEB}"/>
                        </a:ext>
                      </a:extLst>
                    </p:cNvPr>
                    <p:cNvPicPr/>
                    <p:nvPr/>
                  </p:nvPicPr>
                  <p:blipFill>
                    <a:blip r:embed="rId30"/>
                    <a:stretch>
                      <a:fillRect/>
                    </a:stretch>
                  </p:blipFill>
                  <p:spPr>
                    <a:xfrm>
                      <a:off x="3942139" y="4481396"/>
                      <a:ext cx="185553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1">
                  <p14:nvContentPartPr>
                    <p14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50777" y="5194916"/>
                    <a:ext cx="4320" cy="6840"/>
                  </p14:xfrm>
                </p:contentPart>
              </mc:Choice>
              <mc:Fallback xmlns="">
                <p:pic>
                  <p:nvPicPr>
                    <p:cNvPr id="55" name="Input penna 54">
                      <a:extLst>
                        <a:ext uri="{FF2B5EF4-FFF2-40B4-BE49-F238E27FC236}">
                          <a16:creationId xmlns:a16="http://schemas.microsoft.com/office/drawing/2014/main" id="{F5C20634-38D2-6205-EBCD-289AE1916B1C}"/>
                        </a:ext>
                      </a:extLst>
                    </p:cNvPr>
                    <p:cNvPicPr/>
                    <p:nvPr/>
                  </p:nvPicPr>
                  <p:blipFill>
                    <a:blip r:embed="rId32"/>
                    <a:stretch>
                      <a:fillRect/>
                    </a:stretch>
                  </p:blipFill>
                  <p:spPr>
                    <a:xfrm>
                      <a:off x="4075609" y="4642454"/>
                      <a:ext cx="155088" cy="111123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3">
                  <p14:nvContentPartPr>
                    <p14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966817" y="5024276"/>
                    <a:ext cx="172440" cy="189720"/>
                  </p14:xfrm>
                </p:contentPart>
              </mc:Choice>
              <mc:Fallback xmlns="">
                <p:pic>
                  <p:nvPicPr>
                    <p:cNvPr id="56" name="Input penna 55">
                      <a:extLst>
                        <a:ext uri="{FF2B5EF4-FFF2-40B4-BE49-F238E27FC236}">
                          <a16:creationId xmlns:a16="http://schemas.microsoft.com/office/drawing/2014/main" id="{ABD28C2A-E1CB-A310-AB53-146FE1CA0FD5}"/>
                        </a:ext>
                      </a:extLst>
                    </p:cNvPr>
                    <p:cNvPicPr/>
                    <p:nvPr/>
                  </p:nvPicPr>
                  <p:blipFill>
                    <a:blip r:embed="rId34"/>
                    <a:stretch>
                      <a:fillRect/>
                    </a:stretch>
                  </p:blipFill>
                  <p:spPr>
                    <a:xfrm>
                      <a:off x="3883471" y="4455116"/>
                      <a:ext cx="339611" cy="132749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5">
                  <p14:nvContentPartPr>
                    <p14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28897" y="5265836"/>
                    <a:ext cx="511560" cy="77400"/>
                  </p14:xfrm>
                </p:contentPart>
              </mc:Choice>
              <mc:Fallback xmlns="">
                <p:pic>
                  <p:nvPicPr>
                    <p:cNvPr id="57" name="Input penna 56">
                      <a:extLst>
                        <a:ext uri="{FF2B5EF4-FFF2-40B4-BE49-F238E27FC236}">
                          <a16:creationId xmlns:a16="http://schemas.microsoft.com/office/drawing/2014/main" id="{E636D46E-E045-BE44-CCF8-346482802AF5}"/>
                        </a:ext>
                      </a:extLst>
                    </p:cNvPr>
                    <p:cNvPicPr/>
                    <p:nvPr/>
                  </p:nvPicPr>
                  <p:blipFill>
                    <a:blip r:embed="rId36"/>
                    <a:stretch>
                      <a:fillRect/>
                    </a:stretch>
                  </p:blipFill>
                  <p:spPr>
                    <a:xfrm>
                      <a:off x="4145475" y="4698056"/>
                      <a:ext cx="678884" cy="121350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7">
                  <p14:nvContentPartPr>
                    <p14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514377" y="5280596"/>
                    <a:ext cx="28800" cy="11520"/>
                  </p14:xfrm>
                </p:contentPart>
              </mc:Choice>
              <mc:Fallback xmlns="">
                <p:pic>
                  <p:nvPicPr>
                    <p:cNvPr id="58" name="Input penna 57">
                      <a:extLst>
                        <a:ext uri="{FF2B5EF4-FFF2-40B4-BE49-F238E27FC236}">
                          <a16:creationId xmlns:a16="http://schemas.microsoft.com/office/drawing/2014/main" id="{180EC821-2DB9-C8B9-6368-A7FD1ED7C571}"/>
                        </a:ext>
                      </a:extLst>
                    </p:cNvPr>
                    <p:cNvPicPr/>
                    <p:nvPr/>
                  </p:nvPicPr>
                  <p:blipFill>
                    <a:blip r:embed="rId38"/>
                    <a:stretch>
                      <a:fillRect/>
                    </a:stretch>
                  </p:blipFill>
                  <p:spPr>
                    <a:xfrm>
                      <a:off x="4430377" y="4704596"/>
                      <a:ext cx="196320" cy="116297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39">
                  <p14:nvContentPartPr>
                    <p14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837217" y="5055596"/>
                    <a:ext cx="873360" cy="242280"/>
                  </p14:xfrm>
                </p:contentPart>
              </mc:Choice>
              <mc:Fallback xmlns="">
                <p:pic>
                  <p:nvPicPr>
                    <p:cNvPr id="59" name="Input penna 58">
                      <a:extLst>
                        <a:ext uri="{FF2B5EF4-FFF2-40B4-BE49-F238E27FC236}">
                          <a16:creationId xmlns:a16="http://schemas.microsoft.com/office/drawing/2014/main" id="{B5EAD760-0E85-6910-B45A-A0A3127FAF4E}"/>
                        </a:ext>
                      </a:extLst>
                    </p:cNvPr>
                    <p:cNvPicPr/>
                    <p:nvPr/>
                  </p:nvPicPr>
                  <p:blipFill>
                    <a:blip r:embed="rId40"/>
                    <a:stretch>
                      <a:fillRect/>
                    </a:stretch>
                  </p:blipFill>
                  <p:spPr>
                    <a:xfrm>
                      <a:off x="3753332" y="4486482"/>
                      <a:ext cx="1040650" cy="137996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1">
                  <p14:nvContentPartPr>
                    <p14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169497" y="5209676"/>
                    <a:ext cx="211680" cy="73800"/>
                  </p14:xfrm>
                </p:contentPart>
              </mc:Choice>
              <mc:Fallback xmlns="">
                <p:pic>
                  <p:nvPicPr>
                    <p:cNvPr id="60" name="Input penna 59">
                      <a:extLst>
                        <a:ext uri="{FF2B5EF4-FFF2-40B4-BE49-F238E27FC236}">
                          <a16:creationId xmlns:a16="http://schemas.microsoft.com/office/drawing/2014/main" id="{2C319D35-F1C9-A482-5B3E-7D555EC654BD}"/>
                        </a:ext>
                      </a:extLst>
                    </p:cNvPr>
                    <p:cNvPicPr/>
                    <p:nvPr/>
                  </p:nvPicPr>
                  <p:blipFill>
                    <a:blip r:embed="rId42"/>
                    <a:stretch>
                      <a:fillRect/>
                    </a:stretch>
                  </p:blipFill>
                  <p:spPr>
                    <a:xfrm>
                      <a:off x="4085977" y="4639897"/>
                      <a:ext cx="379200" cy="121281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3">
                  <p14:nvContentPartPr>
                    <p14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679977" y="5245676"/>
                    <a:ext cx="692280" cy="40680"/>
                  </p14:xfrm>
                </p:contentPart>
              </mc:Choice>
              <mc:Fallback xmlns="">
                <p:pic>
                  <p:nvPicPr>
                    <p:cNvPr id="61" name="Input penna 60">
                      <a:extLst>
                        <a:ext uri="{FF2B5EF4-FFF2-40B4-BE49-F238E27FC236}">
                          <a16:creationId xmlns:a16="http://schemas.microsoft.com/office/drawing/2014/main" id="{A52ABD0A-7A64-D40E-E11B-982D5D3619B8}"/>
                        </a:ext>
                      </a:extLst>
                    </p:cNvPr>
                    <p:cNvPicPr/>
                    <p:nvPr/>
                  </p:nvPicPr>
                  <p:blipFill>
                    <a:blip r:embed="rId44"/>
                    <a:stretch>
                      <a:fillRect/>
                    </a:stretch>
                  </p:blipFill>
                  <p:spPr>
                    <a:xfrm>
                      <a:off x="4596079" y="4676698"/>
                      <a:ext cx="859597" cy="117917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5">
                  <p14:nvContentPartPr>
                    <p14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6497" y="5244236"/>
                    <a:ext cx="30240" cy="4680"/>
                  </p14:xfrm>
                </p:contentPart>
              </mc:Choice>
              <mc:Fallback xmlns="">
                <p:pic>
                  <p:nvPicPr>
                    <p:cNvPr id="64" name="Input penna 63">
                      <a:extLst>
                        <a:ext uri="{FF2B5EF4-FFF2-40B4-BE49-F238E27FC236}">
                          <a16:creationId xmlns:a16="http://schemas.microsoft.com/office/drawing/2014/main" id="{81DFB208-4AFA-95FC-52D5-D420CD111ABF}"/>
                        </a:ext>
                      </a:extLst>
                    </p:cNvPr>
                    <p:cNvPicPr/>
                    <p:nvPr/>
                  </p:nvPicPr>
                  <p:blipFill>
                    <a:blip r:embed="rId46"/>
                    <a:stretch>
                      <a:fillRect/>
                    </a:stretch>
                  </p:blipFill>
                  <p:spPr>
                    <a:xfrm>
                      <a:off x="4832497" y="4698236"/>
                      <a:ext cx="197760" cy="109616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7">
                  <p14:nvContentPartPr>
                    <p14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281817" y="5274836"/>
                    <a:ext cx="855360" cy="56520"/>
                  </p14:xfrm>
                </p:contentPart>
              </mc:Choice>
              <mc:Fallback xmlns="">
                <p:pic>
                  <p:nvPicPr>
                    <p:cNvPr id="67" name="Input penna 66">
                      <a:extLst>
                        <a:ext uri="{FF2B5EF4-FFF2-40B4-BE49-F238E27FC236}">
                          <a16:creationId xmlns:a16="http://schemas.microsoft.com/office/drawing/2014/main" id="{254B5B12-9672-AA5C-382D-77DED9816D40}"/>
                        </a:ext>
                      </a:extLst>
                    </p:cNvPr>
                    <p:cNvPicPr/>
                    <p:nvPr/>
                  </p:nvPicPr>
                  <p:blipFill>
                    <a:blip r:embed="rId48"/>
                    <a:stretch>
                      <a:fillRect/>
                    </a:stretch>
                  </p:blipFill>
                  <p:spPr>
                    <a:xfrm>
                      <a:off x="4198437" y="4704201"/>
                      <a:ext cx="1022598" cy="119724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49">
                  <p14:nvContentPartPr>
                    <p14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912537" y="4804676"/>
                    <a:ext cx="90360" cy="45000"/>
                  </p14:xfrm>
                </p:contentPart>
              </mc:Choice>
              <mc:Fallback xmlns="">
                <p:pic>
                  <p:nvPicPr>
                    <p:cNvPr id="71" name="Input penna 70">
                      <a:extLst>
                        <a:ext uri="{FF2B5EF4-FFF2-40B4-BE49-F238E27FC236}">
                          <a16:creationId xmlns:a16="http://schemas.microsoft.com/office/drawing/2014/main" id="{1B74C885-CFE2-BB7B-9CE4-A0042DE9A782}"/>
                        </a:ext>
                      </a:extLst>
                    </p:cNvPr>
                    <p:cNvPicPr/>
                    <p:nvPr/>
                  </p:nvPicPr>
                  <p:blipFill>
                    <a:blip r:embed="rId50"/>
                    <a:stretch>
                      <a:fillRect/>
                    </a:stretch>
                  </p:blipFill>
                  <p:spPr>
                    <a:xfrm>
                      <a:off x="4828425" y="4235941"/>
                      <a:ext cx="258103" cy="1183012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1">
                  <p14:nvContentPartPr>
                    <p14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773577" y="4717916"/>
                    <a:ext cx="350640" cy="129600"/>
                  </p14:xfrm>
                </p:contentPart>
              </mc:Choice>
              <mc:Fallback xmlns="">
                <p:pic>
                  <p:nvPicPr>
                    <p:cNvPr id="74" name="Input penna 73">
                      <a:extLst>
                        <a:ext uri="{FF2B5EF4-FFF2-40B4-BE49-F238E27FC236}">
                          <a16:creationId xmlns:a16="http://schemas.microsoft.com/office/drawing/2014/main" id="{631E828E-C72B-A0B3-A89C-986B2B4D6D3B}"/>
                        </a:ext>
                      </a:extLst>
                    </p:cNvPr>
                    <p:cNvPicPr/>
                    <p:nvPr/>
                  </p:nvPicPr>
                  <p:blipFill>
                    <a:blip r:embed="rId52"/>
                    <a:stretch>
                      <a:fillRect/>
                    </a:stretch>
                  </p:blipFill>
                  <p:spPr>
                    <a:xfrm>
                      <a:off x="4690228" y="4148544"/>
                      <a:ext cx="517817" cy="126780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3">
                  <p14:nvContentPartPr>
                    <p14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59777" y="5325956"/>
                    <a:ext cx="1327320" cy="454680"/>
                  </p14:xfrm>
                </p:contentPart>
              </mc:Choice>
              <mc:Fallback xmlns="">
                <p:pic>
                  <p:nvPicPr>
                    <p:cNvPr id="124" name="Input penna 123">
                      <a:extLst>
                        <a:ext uri="{FF2B5EF4-FFF2-40B4-BE49-F238E27FC236}">
                          <a16:creationId xmlns:a16="http://schemas.microsoft.com/office/drawing/2014/main" id="{EE4F34AD-3775-F98A-6ABF-DA5EF78FFA4A}"/>
                        </a:ext>
                      </a:extLst>
                    </p:cNvPr>
                    <p:cNvPicPr/>
                    <p:nvPr/>
                  </p:nvPicPr>
                  <p:blipFill>
                    <a:blip r:embed="rId54"/>
                    <a:stretch>
                      <a:fillRect/>
                    </a:stretch>
                  </p:blipFill>
                  <p:spPr>
                    <a:xfrm>
                      <a:off x="3175891" y="4756250"/>
                      <a:ext cx="1494613" cy="159355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5">
                  <p14:nvContentPartPr>
                    <p14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467497" y="5382476"/>
                    <a:ext cx="981000" cy="447840"/>
                  </p14:xfrm>
                </p:contentPart>
              </mc:Choice>
              <mc:Fallback xmlns="">
                <p:pic>
                  <p:nvPicPr>
                    <p:cNvPr id="125" name="Input penna 124">
                      <a:extLst>
                        <a:ext uri="{FF2B5EF4-FFF2-40B4-BE49-F238E27FC236}">
                          <a16:creationId xmlns:a16="http://schemas.microsoft.com/office/drawing/2014/main" id="{7ABE3DD7-2546-6F32-27B1-3EB5B0052513}"/>
                        </a:ext>
                      </a:extLst>
                    </p:cNvPr>
                    <p:cNvPicPr/>
                    <p:nvPr/>
                  </p:nvPicPr>
                  <p:blipFill>
                    <a:blip r:embed="rId56"/>
                    <a:stretch>
                      <a:fillRect/>
                    </a:stretch>
                  </p:blipFill>
                  <p:spPr>
                    <a:xfrm>
                      <a:off x="3384110" y="4813188"/>
                      <a:ext cx="1148254" cy="15858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7">
                  <p14:nvContentPartPr>
                    <p14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847217" y="5788556"/>
                    <a:ext cx="14760" cy="360"/>
                  </p14:xfrm>
                </p:contentPart>
              </mc:Choice>
              <mc:Fallback xmlns="">
                <p:pic>
                  <p:nvPicPr>
                    <p:cNvPr id="126" name="Input penna 125">
                      <a:extLst>
                        <a:ext uri="{FF2B5EF4-FFF2-40B4-BE49-F238E27FC236}">
                          <a16:creationId xmlns:a16="http://schemas.microsoft.com/office/drawing/2014/main" id="{4025A305-E073-AF00-CAC1-80C463B4AD2F}"/>
                        </a:ext>
                      </a:extLst>
                    </p:cNvPr>
                    <p:cNvPicPr/>
                    <p:nvPr/>
                  </p:nvPicPr>
                  <p:blipFill>
                    <a:blip r:embed="rId58"/>
                    <a:stretch>
                      <a:fillRect/>
                    </a:stretch>
                  </p:blipFill>
                  <p:spPr>
                    <a:xfrm>
                      <a:off x="2763894" y="5410556"/>
                      <a:ext cx="180929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59">
                  <p14:nvContentPartPr>
                    <p14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536257" y="5336036"/>
                    <a:ext cx="1162800" cy="359280"/>
                  </p14:xfrm>
                </p:contentPart>
              </mc:Choice>
              <mc:Fallback xmlns="">
                <p:pic>
                  <p:nvPicPr>
                    <p:cNvPr id="127" name="Input penna 126">
                      <a:extLst>
                        <a:ext uri="{FF2B5EF4-FFF2-40B4-BE49-F238E27FC236}">
                          <a16:creationId xmlns:a16="http://schemas.microsoft.com/office/drawing/2014/main" id="{C2EBD88F-5B52-6DC2-7E30-F4D8BF06BFAD}"/>
                        </a:ext>
                      </a:extLst>
                    </p:cNvPr>
                    <p:cNvPicPr/>
                    <p:nvPr/>
                  </p:nvPicPr>
                  <p:blipFill>
                    <a:blip r:embed="rId60"/>
                    <a:stretch>
                      <a:fillRect/>
                    </a:stretch>
                  </p:blipFill>
                  <p:spPr>
                    <a:xfrm>
                      <a:off x="3452857" y="4766724"/>
                      <a:ext cx="1330078" cy="1498447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1">
                  <p14:nvContentPartPr>
                    <p14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3295417" y="5163236"/>
                    <a:ext cx="2307960" cy="627120"/>
                  </p14:xfrm>
                </p:contentPart>
              </mc:Choice>
              <mc:Fallback xmlns="">
                <p:pic>
                  <p:nvPicPr>
                    <p:cNvPr id="128" name="Input penna 127">
                      <a:extLst>
                        <a:ext uri="{FF2B5EF4-FFF2-40B4-BE49-F238E27FC236}">
                          <a16:creationId xmlns:a16="http://schemas.microsoft.com/office/drawing/2014/main" id="{2ABD941B-AC1E-7AD0-3821-A5191BC1E78F}"/>
                        </a:ext>
                      </a:extLst>
                    </p:cNvPr>
                    <p:cNvPicPr/>
                    <p:nvPr/>
                  </p:nvPicPr>
                  <p:blipFill>
                    <a:blip r:embed="rId62"/>
                    <a:stretch>
                      <a:fillRect/>
                    </a:stretch>
                  </p:blipFill>
                  <p:spPr>
                    <a:xfrm>
                      <a:off x="3211535" y="4593620"/>
                      <a:ext cx="2475245" cy="1765809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3">
                  <p14:nvContentPartPr>
                    <p14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4466857" y="4902236"/>
                    <a:ext cx="2080080" cy="588960"/>
                  </p14:xfrm>
                </p:contentPart>
              </mc:Choice>
              <mc:Fallback xmlns="">
                <p:pic>
                  <p:nvPicPr>
                    <p:cNvPr id="129" name="Input penna 128">
                      <a:extLst>
                        <a:ext uri="{FF2B5EF4-FFF2-40B4-BE49-F238E27FC236}">
                          <a16:creationId xmlns:a16="http://schemas.microsoft.com/office/drawing/2014/main" id="{C2004AB4-D494-BE9D-DCE7-5FDBEC6FC2C8}"/>
                        </a:ext>
                      </a:extLst>
                    </p:cNvPr>
                    <p:cNvPicPr/>
                    <p:nvPr/>
                  </p:nvPicPr>
                  <p:blipFill>
                    <a:blip r:embed="rId64"/>
                    <a:stretch>
                      <a:fillRect/>
                    </a:stretch>
                  </p:blipFill>
                  <p:spPr>
                    <a:xfrm>
                      <a:off x="4382963" y="4333342"/>
                      <a:ext cx="2247388" cy="1727291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5">
                  <p14:nvContentPartPr>
                    <p14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0217" y="4846796"/>
                    <a:ext cx="2604960" cy="739080"/>
                  </p14:xfrm>
                </p:contentPart>
              </mc:Choice>
              <mc:Fallback xmlns="">
                <p:pic>
                  <p:nvPicPr>
                    <p:cNvPr id="131" name="Input penna 130">
                      <a:extLst>
                        <a:ext uri="{FF2B5EF4-FFF2-40B4-BE49-F238E27FC236}">
                          <a16:creationId xmlns:a16="http://schemas.microsoft.com/office/drawing/2014/main" id="{BB8BC4F5-2879-0D9C-D6BD-D0200A87C0DB}"/>
                        </a:ext>
                      </a:extLst>
                    </p:cNvPr>
                    <p:cNvPicPr/>
                    <p:nvPr/>
                  </p:nvPicPr>
                  <p:blipFill>
                    <a:blip r:embed="rId66"/>
                    <a:stretch>
                      <a:fillRect/>
                    </a:stretch>
                  </p:blipFill>
                  <p:spPr>
                    <a:xfrm>
                      <a:off x="1026805" y="4277021"/>
                      <a:ext cx="2772264" cy="1878088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7">
                  <p14:nvContentPartPr>
                    <p14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112737" y="4841396"/>
                    <a:ext cx="2338200" cy="975960"/>
                  </p14:xfrm>
                </p:contentPart>
              </mc:Choice>
              <mc:Fallback xmlns="">
                <p:pic>
                  <p:nvPicPr>
                    <p:cNvPr id="132" name="Input penna 131">
                      <a:extLst>
                        <a:ext uri="{FF2B5EF4-FFF2-40B4-BE49-F238E27FC236}">
                          <a16:creationId xmlns:a16="http://schemas.microsoft.com/office/drawing/2014/main" id="{61E41D68-DCA4-DEB2-EB2D-B9C9B78A32FD}"/>
                        </a:ext>
                      </a:extLst>
                    </p:cNvPr>
                    <p:cNvPicPr/>
                    <p:nvPr/>
                  </p:nvPicPr>
                  <p:blipFill>
                    <a:blip r:embed="rId68"/>
                    <a:stretch>
                      <a:fillRect/>
                    </a:stretch>
                  </p:blipFill>
                  <p:spPr>
                    <a:xfrm>
                      <a:off x="1028836" y="4271770"/>
                      <a:ext cx="2505522" cy="211467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69">
                  <p14:nvContentPartPr>
                    <p14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728697" y="4950116"/>
                    <a:ext cx="2299320" cy="662040"/>
                  </p14:xfrm>
                </p:contentPart>
              </mc:Choice>
              <mc:Fallback xmlns="">
                <p:pic>
                  <p:nvPicPr>
                    <p:cNvPr id="133" name="Input penna 132">
                      <a:extLst>
                        <a:ext uri="{FF2B5EF4-FFF2-40B4-BE49-F238E27FC236}">
                          <a16:creationId xmlns:a16="http://schemas.microsoft.com/office/drawing/2014/main" id="{910BAED3-CAAC-4C99-B2EE-3C7BB3972A03}"/>
                        </a:ext>
                      </a:extLst>
                    </p:cNvPr>
                    <p:cNvPicPr/>
                    <p:nvPr/>
                  </p:nvPicPr>
                  <p:blipFill>
                    <a:blip r:embed="rId70"/>
                    <a:stretch>
                      <a:fillRect/>
                    </a:stretch>
                  </p:blipFill>
                  <p:spPr>
                    <a:xfrm>
                      <a:off x="1645277" y="4380870"/>
                      <a:ext cx="2466639" cy="1801074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1">
                  <p14:nvContentPartPr>
                    <p14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337097" y="5312276"/>
                    <a:ext cx="728640" cy="91440"/>
                  </p14:xfrm>
                </p:contentPart>
              </mc:Choice>
              <mc:Fallback xmlns="">
                <p:pic>
                  <p:nvPicPr>
                    <p:cNvPr id="134" name="Input penna 133">
                      <a:extLst>
                        <a:ext uri="{FF2B5EF4-FFF2-40B4-BE49-F238E27FC236}">
                          <a16:creationId xmlns:a16="http://schemas.microsoft.com/office/drawing/2014/main" id="{9FE44CB0-A167-5F6C-34CC-4B53941D425D}"/>
                        </a:ext>
                      </a:extLst>
                    </p:cNvPr>
                    <p:cNvPicPr/>
                    <p:nvPr/>
                  </p:nvPicPr>
                  <p:blipFill>
                    <a:blip r:embed="rId72"/>
                    <a:stretch>
                      <a:fillRect/>
                    </a:stretch>
                  </p:blipFill>
                  <p:spPr>
                    <a:xfrm>
                      <a:off x="2253208" y="4744158"/>
                      <a:ext cx="895940" cy="1227136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3">
                  <p14:nvContentPartPr>
                    <p14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489377" y="5231996"/>
                    <a:ext cx="27720" cy="360"/>
                  </p14:xfrm>
                </p:contentPart>
              </mc:Choice>
              <mc:Fallback xmlns="">
                <p:pic>
                  <p:nvPicPr>
                    <p:cNvPr id="135" name="Input penna 134">
                      <a:extLst>
                        <a:ext uri="{FF2B5EF4-FFF2-40B4-BE49-F238E27FC236}">
                          <a16:creationId xmlns:a16="http://schemas.microsoft.com/office/drawing/2014/main" id="{9E1E7A80-E235-4F10-860D-715472AC444C}"/>
                        </a:ext>
                      </a:extLst>
                    </p:cNvPr>
                    <p:cNvPicPr/>
                    <p:nvPr/>
                  </p:nvPicPr>
                  <p:blipFill>
                    <a:blip r:embed="rId74"/>
                    <a:stretch>
                      <a:fillRect/>
                    </a:stretch>
                  </p:blipFill>
                  <p:spPr>
                    <a:xfrm>
                      <a:off x="2405739" y="4853996"/>
                      <a:ext cx="194518" cy="756000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 xmlns:aink="http://schemas.microsoft.com/office/drawing/2016/ink">
              <mc:Choice Requires="p14 aink">
                <p:contentPart p14:bwMode="auto" r:id="rId75">
                  <p14:nvContentPartPr>
                    <p14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2633377" y="5235956"/>
                    <a:ext cx="102240" cy="18360"/>
                  </p14:xfrm>
                </p:contentPart>
              </mc:Choice>
              <mc:Fallback xmlns="">
                <p:pic>
                  <p:nvPicPr>
                    <p:cNvPr id="136" name="Input penna 135">
                      <a:extLst>
                        <a:ext uri="{FF2B5EF4-FFF2-40B4-BE49-F238E27FC236}">
                          <a16:creationId xmlns:a16="http://schemas.microsoft.com/office/drawing/2014/main" id="{582C9627-D082-1152-BE03-845D2B0410B9}"/>
                        </a:ext>
                      </a:extLst>
                    </p:cNvPr>
                    <p:cNvPicPr/>
                    <p:nvPr/>
                  </p:nvPicPr>
                  <p:blipFill>
                    <a:blip r:embed="rId76"/>
                    <a:stretch>
                      <a:fillRect/>
                    </a:stretch>
                  </p:blipFill>
                  <p:spPr>
                    <a:xfrm>
                      <a:off x="2549770" y="4668956"/>
                      <a:ext cx="268977" cy="11518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  <p:sp>
            <p:nvSpPr>
              <p:cNvPr id="138" name="CasellaDiTesto 137">
                <a:extLst>
                  <a:ext uri="{FF2B5EF4-FFF2-40B4-BE49-F238E27FC236}">
                    <a16:creationId xmlns:a16="http://schemas.microsoft.com/office/drawing/2014/main" id="{360A765A-8BC4-9298-F3CA-DFC3FF24F4F0}"/>
                  </a:ext>
                </a:extLst>
              </p:cNvPr>
              <p:cNvSpPr txBox="1"/>
              <p:nvPr/>
            </p:nvSpPr>
            <p:spPr>
              <a:xfrm>
                <a:off x="2280742" y="4970923"/>
                <a:ext cx="120199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2400" dirty="0"/>
                  <a:t>SST’ &lt; 0</a:t>
                </a:r>
                <a:endParaRPr lang="en-GB" sz="2400" dirty="0"/>
              </a:p>
            </p:txBody>
          </p:sp>
        </p:grpSp>
      </p:grpSp>
      <p:grpSp>
        <p:nvGrpSpPr>
          <p:cNvPr id="141" name="Gruppo 140">
            <a:extLst>
              <a:ext uri="{FF2B5EF4-FFF2-40B4-BE49-F238E27FC236}">
                <a16:creationId xmlns:a16="http://schemas.microsoft.com/office/drawing/2014/main" id="{99B525F7-8FF0-279B-DB11-818E064ECFF9}"/>
              </a:ext>
            </a:extLst>
          </p:cNvPr>
          <p:cNvGrpSpPr/>
          <p:nvPr/>
        </p:nvGrpSpPr>
        <p:grpSpPr>
          <a:xfrm>
            <a:off x="1778788" y="4862278"/>
            <a:ext cx="7508880" cy="1410480"/>
            <a:chOff x="3443377" y="4820876"/>
            <a:chExt cx="7508880" cy="14104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7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14:cNvPr>
                <p14:cNvContentPartPr/>
                <p14:nvPr/>
              </p14:nvContentPartPr>
              <p14:xfrm>
                <a:off x="3443377" y="4820876"/>
                <a:ext cx="7508880" cy="141048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A12EF154-0535-D68E-F84F-74AFB64954E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3380377" y="4757876"/>
                  <a:ext cx="7634520" cy="153612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115" name="Gruppo 114">
              <a:extLst>
                <a:ext uri="{FF2B5EF4-FFF2-40B4-BE49-F238E27FC236}">
                  <a16:creationId xmlns:a16="http://schemas.microsoft.com/office/drawing/2014/main" id="{D2454920-5E10-AD71-C6CC-82D9F157EA05}"/>
                </a:ext>
              </a:extLst>
            </p:cNvPr>
            <p:cNvGrpSpPr/>
            <p:nvPr/>
          </p:nvGrpSpPr>
          <p:grpSpPr>
            <a:xfrm>
              <a:off x="6212497" y="4910156"/>
              <a:ext cx="4613760" cy="798840"/>
              <a:chOff x="6212497" y="4910156"/>
              <a:chExt cx="4613760" cy="7988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79">
                <p14:nvContentPartPr>
                  <p14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14:cNvPr>
                  <p14:cNvContentPartPr/>
                  <p14:nvPr/>
                </p14:nvContentPartPr>
                <p14:xfrm>
                  <a:off x="6212497" y="4910156"/>
                  <a:ext cx="4613760" cy="775080"/>
                </p14:xfrm>
              </p:contentPart>
            </mc:Choice>
            <mc:Fallback xmlns="">
              <p:pic>
                <p:nvPicPr>
                  <p:cNvPr id="106" name="Input penna 105">
                    <a:extLst>
                      <a:ext uri="{FF2B5EF4-FFF2-40B4-BE49-F238E27FC236}">
                        <a16:creationId xmlns:a16="http://schemas.microsoft.com/office/drawing/2014/main" id="{EC36ED2B-D5B7-D309-2024-DB90275D3A75}"/>
                      </a:ext>
                    </a:extLst>
                  </p:cNvPr>
                  <p:cNvPicPr/>
                  <p:nvPr/>
                </p:nvPicPr>
                <p:blipFill>
                  <a:blip r:embed="rId80"/>
                  <a:stretch>
                    <a:fillRect/>
                  </a:stretch>
                </p:blipFill>
                <p:spPr>
                  <a:xfrm>
                    <a:off x="6149497" y="4847516"/>
                    <a:ext cx="4739400" cy="90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1">
                <p14:nvContentPartPr>
                  <p14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14:cNvPr>
                  <p14:cNvContentPartPr/>
                  <p14:nvPr/>
                </p14:nvContentPartPr>
                <p14:xfrm>
                  <a:off x="8789017" y="5335676"/>
                  <a:ext cx="79560" cy="42480"/>
                </p14:xfrm>
              </p:contentPart>
            </mc:Choice>
            <mc:Fallback xmlns="">
              <p:pic>
                <p:nvPicPr>
                  <p:cNvPr id="107" name="Input penna 106">
                    <a:extLst>
                      <a:ext uri="{FF2B5EF4-FFF2-40B4-BE49-F238E27FC236}">
                        <a16:creationId xmlns:a16="http://schemas.microsoft.com/office/drawing/2014/main" id="{F65D9B95-ABE6-1B79-29DB-85A22BCA8ACA}"/>
                      </a:ext>
                    </a:extLst>
                  </p:cNvPr>
                  <p:cNvPicPr/>
                  <p:nvPr/>
                </p:nvPicPr>
                <p:blipFill>
                  <a:blip r:embed="rId82"/>
                  <a:stretch>
                    <a:fillRect/>
                  </a:stretch>
                </p:blipFill>
                <p:spPr>
                  <a:xfrm>
                    <a:off x="8726017" y="5272676"/>
                    <a:ext cx="205200" cy="1681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3">
                <p14:nvContentPartPr>
                  <p14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14:cNvPr>
                  <p14:cNvContentPartPr/>
                  <p14:nvPr/>
                </p14:nvContentPartPr>
                <p14:xfrm>
                  <a:off x="8304457" y="5097356"/>
                  <a:ext cx="1384200" cy="235080"/>
                </p14:xfrm>
              </p:contentPart>
            </mc:Choice>
            <mc:Fallback xmlns="">
              <p:pic>
                <p:nvPicPr>
                  <p:cNvPr id="108" name="Input penna 107">
                    <a:extLst>
                      <a:ext uri="{FF2B5EF4-FFF2-40B4-BE49-F238E27FC236}">
                        <a16:creationId xmlns:a16="http://schemas.microsoft.com/office/drawing/2014/main" id="{7700EEEB-4B01-9DAA-A928-98B911FDB559}"/>
                      </a:ext>
                    </a:extLst>
                  </p:cNvPr>
                  <p:cNvPicPr/>
                  <p:nvPr/>
                </p:nvPicPr>
                <p:blipFill>
                  <a:blip r:embed="rId84"/>
                  <a:stretch>
                    <a:fillRect/>
                  </a:stretch>
                </p:blipFill>
                <p:spPr>
                  <a:xfrm>
                    <a:off x="8241817" y="5034356"/>
                    <a:ext cx="1509840" cy="3607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5">
                <p14:nvContentPartPr>
                  <p14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14:cNvPr>
                  <p14:cNvContentPartPr/>
                  <p14:nvPr/>
                </p14:nvContentPartPr>
                <p14:xfrm>
                  <a:off x="8815657" y="5132996"/>
                  <a:ext cx="1276560" cy="488880"/>
                </p14:xfrm>
              </p:contentPart>
            </mc:Choice>
            <mc:Fallback xmlns="">
              <p:pic>
                <p:nvPicPr>
                  <p:cNvPr id="109" name="Input penna 108">
                    <a:extLst>
                      <a:ext uri="{FF2B5EF4-FFF2-40B4-BE49-F238E27FC236}">
                        <a16:creationId xmlns:a16="http://schemas.microsoft.com/office/drawing/2014/main" id="{7B08577A-6E94-4655-82B9-4E9A87FE1457}"/>
                      </a:ext>
                    </a:extLst>
                  </p:cNvPr>
                  <p:cNvPicPr/>
                  <p:nvPr/>
                </p:nvPicPr>
                <p:blipFill>
                  <a:blip r:embed="rId86"/>
                  <a:stretch>
                    <a:fillRect/>
                  </a:stretch>
                </p:blipFill>
                <p:spPr>
                  <a:xfrm>
                    <a:off x="8753017" y="5069996"/>
                    <a:ext cx="1402200" cy="6145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7">
                <p14:nvContentPartPr>
                  <p14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14:cNvPr>
                  <p14:cNvContentPartPr/>
                  <p14:nvPr/>
                </p14:nvContentPartPr>
                <p14:xfrm>
                  <a:off x="8643937" y="5602436"/>
                  <a:ext cx="20880" cy="6120"/>
                </p14:xfrm>
              </p:contentPart>
            </mc:Choice>
            <mc:Fallback xmlns="">
              <p:pic>
                <p:nvPicPr>
                  <p:cNvPr id="110" name="Input penna 109">
                    <a:extLst>
                      <a:ext uri="{FF2B5EF4-FFF2-40B4-BE49-F238E27FC236}">
                        <a16:creationId xmlns:a16="http://schemas.microsoft.com/office/drawing/2014/main" id="{2208CBF0-5093-A556-8844-678A468EEA50}"/>
                      </a:ext>
                    </a:extLst>
                  </p:cNvPr>
                  <p:cNvPicPr/>
                  <p:nvPr/>
                </p:nvPicPr>
                <p:blipFill>
                  <a:blip r:embed="rId88"/>
                  <a:stretch>
                    <a:fillRect/>
                  </a:stretch>
                </p:blipFill>
                <p:spPr>
                  <a:xfrm>
                    <a:off x="8581297" y="5539436"/>
                    <a:ext cx="146520" cy="13176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9">
                <p14:nvContentPartPr>
                  <p14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14:cNvPr>
                  <p14:cNvContentPartPr/>
                  <p14:nvPr/>
                </p14:nvContentPartPr>
                <p14:xfrm>
                  <a:off x="8689297" y="5469236"/>
                  <a:ext cx="2037960" cy="239760"/>
                </p14:xfrm>
              </p:contentPart>
            </mc:Choice>
            <mc:Fallback xmlns="">
              <p:pic>
                <p:nvPicPr>
                  <p:cNvPr id="112" name="Input penna 111">
                    <a:extLst>
                      <a:ext uri="{FF2B5EF4-FFF2-40B4-BE49-F238E27FC236}">
                        <a16:creationId xmlns:a16="http://schemas.microsoft.com/office/drawing/2014/main" id="{9A65C9E7-7259-80C2-9D23-7DC977EB1595}"/>
                      </a:ext>
                    </a:extLst>
                  </p:cNvPr>
                  <p:cNvPicPr/>
                  <p:nvPr/>
                </p:nvPicPr>
                <p:blipFill>
                  <a:blip r:embed="rId90"/>
                  <a:stretch>
                    <a:fillRect/>
                  </a:stretch>
                </p:blipFill>
                <p:spPr>
                  <a:xfrm>
                    <a:off x="8626657" y="5406596"/>
                    <a:ext cx="2163600" cy="3654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1">
                <p14:nvContentPartPr>
                  <p14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14:cNvPr>
                  <p14:cNvContentPartPr/>
                  <p14:nvPr/>
                </p14:nvContentPartPr>
                <p14:xfrm>
                  <a:off x="10730857" y="5531516"/>
                  <a:ext cx="360" cy="360"/>
                </p14:xfrm>
              </p:contentPart>
            </mc:Choice>
            <mc:Fallback xmlns="">
              <p:pic>
                <p:nvPicPr>
                  <p:cNvPr id="113" name="Input penna 112">
                    <a:extLst>
                      <a:ext uri="{FF2B5EF4-FFF2-40B4-BE49-F238E27FC236}">
                        <a16:creationId xmlns:a16="http://schemas.microsoft.com/office/drawing/2014/main" id="{1243C653-9C02-C3D5-9E96-30D510BDD239}"/>
                      </a:ext>
                    </a:extLst>
                  </p:cNvPr>
                  <p:cNvPicPr/>
                  <p:nvPr/>
                </p:nvPicPr>
                <p:blipFill>
                  <a:blip r:embed="rId92"/>
                  <a:stretch>
                    <a:fillRect/>
                  </a:stretch>
                </p:blipFill>
                <p:spPr>
                  <a:xfrm>
                    <a:off x="10667857" y="5468516"/>
                    <a:ext cx="126000" cy="12600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93">
                <p14:nvContentPartPr>
                  <p14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14:cNvPr>
                  <p14:cNvContentPartPr/>
                  <p14:nvPr/>
                </p14:nvContentPartPr>
                <p14:xfrm>
                  <a:off x="10667497" y="5576876"/>
                  <a:ext cx="72000" cy="90360"/>
                </p14:xfrm>
              </p:contentPart>
            </mc:Choice>
            <mc:Fallback xmlns="">
              <p:pic>
                <p:nvPicPr>
                  <p:cNvPr id="114" name="Input penna 113">
                    <a:extLst>
                      <a:ext uri="{FF2B5EF4-FFF2-40B4-BE49-F238E27FC236}">
                        <a16:creationId xmlns:a16="http://schemas.microsoft.com/office/drawing/2014/main" id="{0C6BEAB6-E2D9-899D-266C-53713DADD7A2}"/>
                      </a:ext>
                    </a:extLst>
                  </p:cNvPr>
                  <p:cNvPicPr/>
                  <p:nvPr/>
                </p:nvPicPr>
                <p:blipFill>
                  <a:blip r:embed="rId94"/>
                  <a:stretch>
                    <a:fillRect/>
                  </a:stretch>
                </p:blipFill>
                <p:spPr>
                  <a:xfrm>
                    <a:off x="10604857" y="5513876"/>
                    <a:ext cx="197640" cy="216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139" name="CasellaDiTesto 138">
              <a:extLst>
                <a:ext uri="{FF2B5EF4-FFF2-40B4-BE49-F238E27FC236}">
                  <a16:creationId xmlns:a16="http://schemas.microsoft.com/office/drawing/2014/main" id="{077FB86F-2F54-6369-0699-27D64B7F9ED3}"/>
                </a:ext>
              </a:extLst>
            </p:cNvPr>
            <p:cNvSpPr txBox="1"/>
            <p:nvPr/>
          </p:nvSpPr>
          <p:spPr>
            <a:xfrm>
              <a:off x="8300857" y="5132996"/>
              <a:ext cx="120199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dirty="0"/>
                <a:t>SST’ &gt; 0</a:t>
              </a:r>
              <a:endParaRPr lang="en-GB" sz="2400" dirty="0"/>
            </a:p>
          </p:txBody>
        </p:sp>
      </p:grpSp>
      <p:sp>
        <p:nvSpPr>
          <p:cNvPr id="143" name="Figura a mano libera: forma 142">
            <a:extLst>
              <a:ext uri="{FF2B5EF4-FFF2-40B4-BE49-F238E27FC236}">
                <a16:creationId xmlns:a16="http://schemas.microsoft.com/office/drawing/2014/main" id="{7FA50149-E6D7-B111-DB66-168D4696DFEE}"/>
              </a:ext>
            </a:extLst>
          </p:cNvPr>
          <p:cNvSpPr/>
          <p:nvPr/>
        </p:nvSpPr>
        <p:spPr>
          <a:xfrm>
            <a:off x="1143000" y="3867813"/>
            <a:ext cx="9906000" cy="324464"/>
          </a:xfrm>
          <a:custGeom>
            <a:avLst/>
            <a:gdLst>
              <a:gd name="connsiteX0" fmla="*/ 0 w 9906000"/>
              <a:gd name="connsiteY0" fmla="*/ 324464 h 324464"/>
              <a:gd name="connsiteX1" fmla="*/ 342900 w 9906000"/>
              <a:gd name="connsiteY1" fmla="*/ 219689 h 324464"/>
              <a:gd name="connsiteX2" fmla="*/ 600075 w 9906000"/>
              <a:gd name="connsiteY2" fmla="*/ 238739 h 324464"/>
              <a:gd name="connsiteX3" fmla="*/ 885825 w 9906000"/>
              <a:gd name="connsiteY3" fmla="*/ 229214 h 324464"/>
              <a:gd name="connsiteX4" fmla="*/ 1333500 w 9906000"/>
              <a:gd name="connsiteY4" fmla="*/ 257789 h 324464"/>
              <a:gd name="connsiteX5" fmla="*/ 2457450 w 9906000"/>
              <a:gd name="connsiteY5" fmla="*/ 238739 h 324464"/>
              <a:gd name="connsiteX6" fmla="*/ 3476625 w 9906000"/>
              <a:gd name="connsiteY6" fmla="*/ 200639 h 324464"/>
              <a:gd name="connsiteX7" fmla="*/ 4029075 w 9906000"/>
              <a:gd name="connsiteY7" fmla="*/ 124439 h 324464"/>
              <a:gd name="connsiteX8" fmla="*/ 6029325 w 9906000"/>
              <a:gd name="connsiteY8" fmla="*/ 19664 h 324464"/>
              <a:gd name="connsiteX9" fmla="*/ 6657975 w 9906000"/>
              <a:gd name="connsiteY9" fmla="*/ 614 h 324464"/>
              <a:gd name="connsiteX10" fmla="*/ 7458075 w 9906000"/>
              <a:gd name="connsiteY10" fmla="*/ 29189 h 324464"/>
              <a:gd name="connsiteX11" fmla="*/ 8524875 w 9906000"/>
              <a:gd name="connsiteY11" fmla="*/ 124439 h 324464"/>
              <a:gd name="connsiteX12" fmla="*/ 9229725 w 9906000"/>
              <a:gd name="connsiteY12" fmla="*/ 95864 h 324464"/>
              <a:gd name="connsiteX13" fmla="*/ 9906000 w 9906000"/>
              <a:gd name="connsiteY13" fmla="*/ 614 h 324464"/>
              <a:gd name="connsiteX14" fmla="*/ 9906000 w 9906000"/>
              <a:gd name="connsiteY14" fmla="*/ 614 h 324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906000" h="324464">
                <a:moveTo>
                  <a:pt x="0" y="324464"/>
                </a:moveTo>
                <a:cubicBezTo>
                  <a:pt x="121444" y="279220"/>
                  <a:pt x="242888" y="233976"/>
                  <a:pt x="342900" y="219689"/>
                </a:cubicBezTo>
                <a:cubicBezTo>
                  <a:pt x="442912" y="205402"/>
                  <a:pt x="509588" y="237152"/>
                  <a:pt x="600075" y="238739"/>
                </a:cubicBezTo>
                <a:cubicBezTo>
                  <a:pt x="690562" y="240326"/>
                  <a:pt x="763588" y="226039"/>
                  <a:pt x="885825" y="229214"/>
                </a:cubicBezTo>
                <a:cubicBezTo>
                  <a:pt x="1008062" y="232389"/>
                  <a:pt x="1333500" y="257789"/>
                  <a:pt x="1333500" y="257789"/>
                </a:cubicBezTo>
                <a:cubicBezTo>
                  <a:pt x="1595438" y="259376"/>
                  <a:pt x="2100263" y="248264"/>
                  <a:pt x="2457450" y="238739"/>
                </a:cubicBezTo>
                <a:cubicBezTo>
                  <a:pt x="2814637" y="229214"/>
                  <a:pt x="3214688" y="219689"/>
                  <a:pt x="3476625" y="200639"/>
                </a:cubicBezTo>
                <a:cubicBezTo>
                  <a:pt x="3738562" y="181589"/>
                  <a:pt x="3603625" y="154601"/>
                  <a:pt x="4029075" y="124439"/>
                </a:cubicBezTo>
                <a:cubicBezTo>
                  <a:pt x="4454525" y="94277"/>
                  <a:pt x="5591175" y="40301"/>
                  <a:pt x="6029325" y="19664"/>
                </a:cubicBezTo>
                <a:cubicBezTo>
                  <a:pt x="6467475" y="-973"/>
                  <a:pt x="6419850" y="-974"/>
                  <a:pt x="6657975" y="614"/>
                </a:cubicBezTo>
                <a:cubicBezTo>
                  <a:pt x="6896100" y="2201"/>
                  <a:pt x="7146925" y="8552"/>
                  <a:pt x="7458075" y="29189"/>
                </a:cubicBezTo>
                <a:cubicBezTo>
                  <a:pt x="7769225" y="49826"/>
                  <a:pt x="8229600" y="113327"/>
                  <a:pt x="8524875" y="124439"/>
                </a:cubicBezTo>
                <a:cubicBezTo>
                  <a:pt x="8820150" y="135551"/>
                  <a:pt x="8999538" y="116501"/>
                  <a:pt x="9229725" y="95864"/>
                </a:cubicBezTo>
                <a:cubicBezTo>
                  <a:pt x="9459912" y="75227"/>
                  <a:pt x="9906000" y="614"/>
                  <a:pt x="9906000" y="614"/>
                </a:cubicBezTo>
                <a:lnTo>
                  <a:pt x="9906000" y="614"/>
                </a:lnTo>
              </a:path>
            </a:pathLst>
          </a:cu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ccia circolare in su 7">
            <a:extLst>
              <a:ext uri="{FF2B5EF4-FFF2-40B4-BE49-F238E27FC236}">
                <a16:creationId xmlns:a16="http://schemas.microsoft.com/office/drawing/2014/main" id="{6678E864-007B-7435-581E-021322D0C096}"/>
              </a:ext>
            </a:extLst>
          </p:cNvPr>
          <p:cNvSpPr/>
          <p:nvPr/>
        </p:nvSpPr>
        <p:spPr>
          <a:xfrm rot="1229073">
            <a:off x="7815778" y="4281695"/>
            <a:ext cx="286623" cy="202838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9" name="Freccia circolare in su 8">
            <a:extLst>
              <a:ext uri="{FF2B5EF4-FFF2-40B4-BE49-F238E27FC236}">
                <a16:creationId xmlns:a16="http://schemas.microsoft.com/office/drawing/2014/main" id="{F14434BF-11BC-85C5-112D-155C35497DDB}"/>
              </a:ext>
            </a:extLst>
          </p:cNvPr>
          <p:cNvSpPr/>
          <p:nvPr/>
        </p:nvSpPr>
        <p:spPr>
          <a:xfrm rot="11485598">
            <a:off x="6767127" y="4230888"/>
            <a:ext cx="286623" cy="192211"/>
          </a:xfrm>
          <a:prstGeom prst="curved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>
              <a:solidFill>
                <a:schemeClr val="tx1"/>
              </a:solidFill>
            </a:endParaRPr>
          </a:p>
        </p:txBody>
      </p:sp>
      <p:sp>
        <p:nvSpPr>
          <p:cNvPr id="42" name="Freccia in su 41">
            <a:extLst>
              <a:ext uri="{FF2B5EF4-FFF2-40B4-BE49-F238E27FC236}">
                <a16:creationId xmlns:a16="http://schemas.microsoft.com/office/drawing/2014/main" id="{EB18F5B4-5DE0-4FBA-4303-D1CE5BAD3ACD}"/>
              </a:ext>
            </a:extLst>
          </p:cNvPr>
          <p:cNvSpPr/>
          <p:nvPr/>
        </p:nvSpPr>
        <p:spPr>
          <a:xfrm rot="10800000">
            <a:off x="7223575" y="4329525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48" name="Freccia in su 47">
            <a:extLst>
              <a:ext uri="{FF2B5EF4-FFF2-40B4-BE49-F238E27FC236}">
                <a16:creationId xmlns:a16="http://schemas.microsoft.com/office/drawing/2014/main" id="{EA70A377-12F9-6EDB-89AC-2FBA549D768A}"/>
              </a:ext>
            </a:extLst>
          </p:cNvPr>
          <p:cNvSpPr/>
          <p:nvPr/>
        </p:nvSpPr>
        <p:spPr>
          <a:xfrm>
            <a:off x="7559041" y="4312537"/>
            <a:ext cx="131298" cy="430752"/>
          </a:xfrm>
          <a:prstGeom prst="upArrow">
            <a:avLst/>
          </a:prstGeom>
          <a:solidFill>
            <a:srgbClr val="DEF74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</p:spTree>
    <p:extLst>
      <p:ext uri="{BB962C8B-B14F-4D97-AF65-F5344CB8AC3E}">
        <p14:creationId xmlns:p14="http://schemas.microsoft.com/office/powerpoint/2010/main" val="248822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1" grpId="0"/>
      <p:bldP spid="143" grpId="0" animBg="1"/>
      <p:bldP spid="8" grpId="0" animBg="1"/>
      <p:bldP spid="9" grpId="0" animBg="1"/>
      <p:bldP spid="42" grpId="0" animBg="1"/>
      <p:bldP spid="4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65BB9-5F8D-CA55-376E-DAB46B4281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8F3EED3-7CA7-C70D-2CFC-9BED28594B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225150C-8584-728F-E1E6-90CEB87B0D7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7464FEAE-0196-32B8-CCBB-0034F1B2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D1D3BDF-309D-A717-B78A-41E6628DFD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IMPRS on Earth System Modelling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0105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9BA94-6D72-B7F9-6C9B-E564A588B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22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1B7A6-8C3D-A723-C536-92EEA56BA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E6B0F696-A9B5-4BF0-0A2D-99CC962532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5A38A38B-46E0-F2C5-6E22-AB609C809C03}"/>
              </a:ext>
            </a:extLst>
          </p:cNvPr>
          <p:cNvSpPr/>
          <p:nvPr/>
        </p:nvSpPr>
        <p:spPr>
          <a:xfrm>
            <a:off x="4841093" y="4700644"/>
            <a:ext cx="2974295" cy="188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lumOff val="2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lumOff val="2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lumOff val="25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 dirty="0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05F1FC-7EC8-6E67-13A8-3CE5D3BE6055}"/>
              </a:ext>
            </a:extLst>
          </p:cNvPr>
          <p:cNvSpPr/>
          <p:nvPr/>
        </p:nvSpPr>
        <p:spPr>
          <a:xfrm rot="10800000">
            <a:off x="7784566" y="4700722"/>
            <a:ext cx="2974294" cy="188583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16421FD-C9F8-E339-70B5-018DE90DAD34}"/>
              </a:ext>
            </a:extLst>
          </p:cNvPr>
          <p:cNvSpPr txBox="1"/>
          <p:nvPr/>
        </p:nvSpPr>
        <p:spPr>
          <a:xfrm>
            <a:off x="4841894" y="5133539"/>
            <a:ext cx="1379888" cy="44868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lt; 0 </a:t>
            </a:r>
            <a:endParaRPr lang="en-GB" sz="2333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C26C218-BF09-9DD4-E6C8-B8F3481C45C5}"/>
              </a:ext>
            </a:extLst>
          </p:cNvPr>
          <p:cNvSpPr txBox="1"/>
          <p:nvPr/>
        </p:nvSpPr>
        <p:spPr>
          <a:xfrm>
            <a:off x="10694167" y="1118505"/>
            <a:ext cx="1494377" cy="511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721" dirty="0"/>
              <a:t>BL Top ’ </a:t>
            </a:r>
            <a:endParaRPr lang="en-GB" sz="2333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F2FCC12F-67EC-135A-013B-FD6C6D020F9E}"/>
              </a:ext>
            </a:extLst>
          </p:cNvPr>
          <p:cNvSpPr/>
          <p:nvPr/>
        </p:nvSpPr>
        <p:spPr>
          <a:xfrm rot="10800000">
            <a:off x="5092218" y="4155373"/>
            <a:ext cx="204813" cy="464741"/>
          </a:xfrm>
          <a:prstGeom prst="upArrow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  <a:tint val="66000"/>
                  <a:satMod val="160000"/>
                </a:schemeClr>
              </a:gs>
              <a:gs pos="50000">
                <a:schemeClr val="tx2">
                  <a:lumMod val="50000"/>
                  <a:lumOff val="50000"/>
                  <a:tint val="44500"/>
                  <a:satMod val="160000"/>
                </a:schemeClr>
              </a:gs>
              <a:gs pos="100000">
                <a:schemeClr val="tx2">
                  <a:lumMod val="50000"/>
                  <a:lumOff val="5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94B0CE8-CBE5-2281-206F-DE4E85453A2C}"/>
              </a:ext>
            </a:extLst>
          </p:cNvPr>
          <p:cNvSpPr/>
          <p:nvPr/>
        </p:nvSpPr>
        <p:spPr>
          <a:xfrm>
            <a:off x="10212334" y="3605965"/>
            <a:ext cx="496033" cy="1050914"/>
          </a:xfrm>
          <a:prstGeom prst="up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FC8A21D-A743-0641-CF5E-980774BB5C6B}"/>
              </a:ext>
            </a:extLst>
          </p:cNvPr>
          <p:cNvSpPr txBox="1"/>
          <p:nvPr/>
        </p:nvSpPr>
        <p:spPr>
          <a:xfrm>
            <a:off x="9378973" y="5176406"/>
            <a:ext cx="1379888" cy="4486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it-IT" sz="2333" dirty="0"/>
              <a:t>SST’ &gt; 0 </a:t>
            </a:r>
            <a:endParaRPr lang="en-GB" sz="2333" dirty="0"/>
          </a:p>
        </p:txBody>
      </p:sp>
      <p:sp>
        <p:nvSpPr>
          <p:cNvPr id="17" name="Freccia circolare a sinistra 16">
            <a:extLst>
              <a:ext uri="{FF2B5EF4-FFF2-40B4-BE49-F238E27FC236}">
                <a16:creationId xmlns:a16="http://schemas.microsoft.com/office/drawing/2014/main" id="{2FBF61B3-2E21-82BA-13A8-E6A4BECBA9CB}"/>
              </a:ext>
            </a:extLst>
          </p:cNvPr>
          <p:cNvSpPr/>
          <p:nvPr/>
        </p:nvSpPr>
        <p:spPr>
          <a:xfrm>
            <a:off x="9948028" y="1071809"/>
            <a:ext cx="515033" cy="1041931"/>
          </a:xfrm>
          <a:prstGeom prst="curvedLef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18" name="Freccia circolare a sinistra 17">
            <a:extLst>
              <a:ext uri="{FF2B5EF4-FFF2-40B4-BE49-F238E27FC236}">
                <a16:creationId xmlns:a16="http://schemas.microsoft.com/office/drawing/2014/main" id="{78542F2D-20EF-1F1C-5C79-AAED55C27EFD}"/>
              </a:ext>
            </a:extLst>
          </p:cNvPr>
          <p:cNvSpPr/>
          <p:nvPr/>
        </p:nvSpPr>
        <p:spPr>
          <a:xfrm>
            <a:off x="5247713" y="1881674"/>
            <a:ext cx="266505" cy="365638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>
              <a:solidFill>
                <a:schemeClr val="tx1"/>
              </a:solidFill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:a16="http://schemas.microsoft.com/office/drawing/2014/main" id="{715C7AD0-B934-B3B8-74AC-A2CE1C686DAE}"/>
              </a:ext>
            </a:extLst>
          </p:cNvPr>
          <p:cNvSpPr/>
          <p:nvPr/>
        </p:nvSpPr>
        <p:spPr>
          <a:xfrm rot="15350471">
            <a:off x="8926810" y="3135078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1" name="Figura a mano libera: forma 20">
            <a:extLst>
              <a:ext uri="{FF2B5EF4-FFF2-40B4-BE49-F238E27FC236}">
                <a16:creationId xmlns:a16="http://schemas.microsoft.com/office/drawing/2014/main" id="{70238B00-867C-B442-7638-D2B7244FCF99}"/>
              </a:ext>
            </a:extLst>
          </p:cNvPr>
          <p:cNvSpPr/>
          <p:nvPr/>
        </p:nvSpPr>
        <p:spPr>
          <a:xfrm rot="5400000">
            <a:off x="9564692" y="3839692"/>
            <a:ext cx="569055" cy="712649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9C0E262B-C951-22B9-9BA4-A32ED6306A15}"/>
              </a:ext>
            </a:extLst>
          </p:cNvPr>
          <p:cNvSpPr/>
          <p:nvPr/>
        </p:nvSpPr>
        <p:spPr>
          <a:xfrm rot="7257045">
            <a:off x="10742182" y="2204496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3" name="Figura a mano libera: forma 22">
            <a:extLst>
              <a:ext uri="{FF2B5EF4-FFF2-40B4-BE49-F238E27FC236}">
                <a16:creationId xmlns:a16="http://schemas.microsoft.com/office/drawing/2014/main" id="{9D94A15E-5690-B83F-BC1F-DE23919ED5CC}"/>
              </a:ext>
            </a:extLst>
          </p:cNvPr>
          <p:cNvSpPr/>
          <p:nvPr/>
        </p:nvSpPr>
        <p:spPr>
          <a:xfrm rot="19158006">
            <a:off x="8663823" y="2146676"/>
            <a:ext cx="334338" cy="29320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4" name="Figura a mano libera: forma 23">
            <a:extLst>
              <a:ext uri="{FF2B5EF4-FFF2-40B4-BE49-F238E27FC236}">
                <a16:creationId xmlns:a16="http://schemas.microsoft.com/office/drawing/2014/main" id="{D36F507C-5983-DEF9-837D-D8263A549942}"/>
              </a:ext>
            </a:extLst>
          </p:cNvPr>
          <p:cNvSpPr/>
          <p:nvPr/>
        </p:nvSpPr>
        <p:spPr>
          <a:xfrm rot="4089735">
            <a:off x="10069961" y="3004544"/>
            <a:ext cx="451118" cy="353601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5" name="Figura a mano libera: forma 24">
            <a:extLst>
              <a:ext uri="{FF2B5EF4-FFF2-40B4-BE49-F238E27FC236}">
                <a16:creationId xmlns:a16="http://schemas.microsoft.com/office/drawing/2014/main" id="{740A9847-94B4-BCA6-06D1-A421C35A90BC}"/>
              </a:ext>
            </a:extLst>
          </p:cNvPr>
          <p:cNvSpPr/>
          <p:nvPr/>
        </p:nvSpPr>
        <p:spPr>
          <a:xfrm rot="15350471">
            <a:off x="6765677" y="3021614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6" name="Figura a mano libera: forma 25">
            <a:extLst>
              <a:ext uri="{FF2B5EF4-FFF2-40B4-BE49-F238E27FC236}">
                <a16:creationId xmlns:a16="http://schemas.microsoft.com/office/drawing/2014/main" id="{F90DD778-285E-5980-9D56-107C18073896}"/>
              </a:ext>
            </a:extLst>
          </p:cNvPr>
          <p:cNvSpPr/>
          <p:nvPr/>
        </p:nvSpPr>
        <p:spPr>
          <a:xfrm rot="9277550">
            <a:off x="7009774" y="3775530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7" name="Figura a mano libera: forma 26">
            <a:extLst>
              <a:ext uri="{FF2B5EF4-FFF2-40B4-BE49-F238E27FC236}">
                <a16:creationId xmlns:a16="http://schemas.microsoft.com/office/drawing/2014/main" id="{92EE2A17-BD30-BDF6-3F18-CBDD3643015A}"/>
              </a:ext>
            </a:extLst>
          </p:cNvPr>
          <p:cNvSpPr/>
          <p:nvPr/>
        </p:nvSpPr>
        <p:spPr>
          <a:xfrm rot="8735563">
            <a:off x="7310376" y="2464348"/>
            <a:ext cx="237547" cy="191816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8" name="Figura a mano libera: forma 27">
            <a:extLst>
              <a:ext uri="{FF2B5EF4-FFF2-40B4-BE49-F238E27FC236}">
                <a16:creationId xmlns:a16="http://schemas.microsoft.com/office/drawing/2014/main" id="{A24163FC-3B25-0078-F21F-B6306BA06810}"/>
              </a:ext>
            </a:extLst>
          </p:cNvPr>
          <p:cNvSpPr/>
          <p:nvPr/>
        </p:nvSpPr>
        <p:spPr>
          <a:xfrm rot="15350471">
            <a:off x="5159712" y="2871916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29" name="Figura a mano libera: forma 28">
            <a:extLst>
              <a:ext uri="{FF2B5EF4-FFF2-40B4-BE49-F238E27FC236}">
                <a16:creationId xmlns:a16="http://schemas.microsoft.com/office/drawing/2014/main" id="{53C1A87A-F12C-B0BA-EFBB-F423C8F70136}"/>
              </a:ext>
            </a:extLst>
          </p:cNvPr>
          <p:cNvSpPr/>
          <p:nvPr/>
        </p:nvSpPr>
        <p:spPr>
          <a:xfrm rot="15350471">
            <a:off x="5621823" y="3352857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0" name="Figura a mano libera: forma 29">
            <a:extLst>
              <a:ext uri="{FF2B5EF4-FFF2-40B4-BE49-F238E27FC236}">
                <a16:creationId xmlns:a16="http://schemas.microsoft.com/office/drawing/2014/main" id="{02634B7C-AEFB-E69B-32CB-80699C7B953E}"/>
              </a:ext>
            </a:extLst>
          </p:cNvPr>
          <p:cNvSpPr/>
          <p:nvPr/>
        </p:nvSpPr>
        <p:spPr>
          <a:xfrm rot="15350471">
            <a:off x="5064798" y="3646942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1" name="Figura a mano libera: forma 30">
            <a:extLst>
              <a:ext uri="{FF2B5EF4-FFF2-40B4-BE49-F238E27FC236}">
                <a16:creationId xmlns:a16="http://schemas.microsoft.com/office/drawing/2014/main" id="{3F26B6F8-0192-BF91-F9B6-5FE9677FF917}"/>
              </a:ext>
            </a:extLst>
          </p:cNvPr>
          <p:cNvSpPr/>
          <p:nvPr/>
        </p:nvSpPr>
        <p:spPr>
          <a:xfrm rot="15350471">
            <a:off x="5455940" y="4236995"/>
            <a:ext cx="152593" cy="87375"/>
          </a:xfrm>
          <a:custGeom>
            <a:avLst/>
            <a:gdLst>
              <a:gd name="connsiteX0" fmla="*/ 0 w 464171"/>
              <a:gd name="connsiteY0" fmla="*/ 363832 h 363832"/>
              <a:gd name="connsiteX1" fmla="*/ 62346 w 464171"/>
              <a:gd name="connsiteY1" fmla="*/ 114450 h 363832"/>
              <a:gd name="connsiteX2" fmla="*/ 311727 w 464171"/>
              <a:gd name="connsiteY2" fmla="*/ 150 h 363832"/>
              <a:gd name="connsiteX3" fmla="*/ 436418 w 464171"/>
              <a:gd name="connsiteY3" fmla="*/ 93669 h 363832"/>
              <a:gd name="connsiteX4" fmla="*/ 457200 w 464171"/>
              <a:gd name="connsiteY4" fmla="*/ 239141 h 363832"/>
              <a:gd name="connsiteX5" fmla="*/ 342900 w 464171"/>
              <a:gd name="connsiteY5" fmla="*/ 353441 h 363832"/>
              <a:gd name="connsiteX6" fmla="*/ 176646 w 464171"/>
              <a:gd name="connsiteY6" fmla="*/ 332659 h 363832"/>
              <a:gd name="connsiteX7" fmla="*/ 145473 w 464171"/>
              <a:gd name="connsiteY7" fmla="*/ 218359 h 363832"/>
              <a:gd name="connsiteX8" fmla="*/ 270164 w 464171"/>
              <a:gd name="connsiteY8" fmla="*/ 124841 h 363832"/>
              <a:gd name="connsiteX9" fmla="*/ 342900 w 464171"/>
              <a:gd name="connsiteY9" fmla="*/ 197578 h 363832"/>
              <a:gd name="connsiteX10" fmla="*/ 342900 w 464171"/>
              <a:gd name="connsiteY10" fmla="*/ 228750 h 363832"/>
              <a:gd name="connsiteX11" fmla="*/ 259773 w 464171"/>
              <a:gd name="connsiteY11" fmla="*/ 228750 h 363832"/>
              <a:gd name="connsiteX12" fmla="*/ 290946 w 464171"/>
              <a:gd name="connsiteY12" fmla="*/ 218359 h 36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4171" h="363832">
                <a:moveTo>
                  <a:pt x="0" y="363832"/>
                </a:moveTo>
                <a:cubicBezTo>
                  <a:pt x="5196" y="269448"/>
                  <a:pt x="10392" y="175064"/>
                  <a:pt x="62346" y="114450"/>
                </a:cubicBezTo>
                <a:cubicBezTo>
                  <a:pt x="114300" y="53836"/>
                  <a:pt x="249382" y="3613"/>
                  <a:pt x="311727" y="150"/>
                </a:cubicBezTo>
                <a:cubicBezTo>
                  <a:pt x="374072" y="-3313"/>
                  <a:pt x="412172" y="53837"/>
                  <a:pt x="436418" y="93669"/>
                </a:cubicBezTo>
                <a:cubicBezTo>
                  <a:pt x="460664" y="133501"/>
                  <a:pt x="472786" y="195846"/>
                  <a:pt x="457200" y="239141"/>
                </a:cubicBezTo>
                <a:cubicBezTo>
                  <a:pt x="441614" y="282436"/>
                  <a:pt x="389659" y="337855"/>
                  <a:pt x="342900" y="353441"/>
                </a:cubicBezTo>
                <a:cubicBezTo>
                  <a:pt x="296141" y="369027"/>
                  <a:pt x="209550" y="355173"/>
                  <a:pt x="176646" y="332659"/>
                </a:cubicBezTo>
                <a:cubicBezTo>
                  <a:pt x="143742" y="310145"/>
                  <a:pt x="129887" y="252995"/>
                  <a:pt x="145473" y="218359"/>
                </a:cubicBezTo>
                <a:cubicBezTo>
                  <a:pt x="161059" y="183723"/>
                  <a:pt x="237260" y="128304"/>
                  <a:pt x="270164" y="124841"/>
                </a:cubicBezTo>
                <a:cubicBezTo>
                  <a:pt x="303068" y="121378"/>
                  <a:pt x="342900" y="197578"/>
                  <a:pt x="342900" y="197578"/>
                </a:cubicBezTo>
                <a:cubicBezTo>
                  <a:pt x="355023" y="214896"/>
                  <a:pt x="356755" y="223555"/>
                  <a:pt x="342900" y="228750"/>
                </a:cubicBezTo>
                <a:cubicBezTo>
                  <a:pt x="329045" y="233945"/>
                  <a:pt x="268432" y="230482"/>
                  <a:pt x="259773" y="228750"/>
                </a:cubicBezTo>
                <a:cubicBezTo>
                  <a:pt x="251114" y="227018"/>
                  <a:pt x="271030" y="222688"/>
                  <a:pt x="290946" y="218359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960CE292-7208-6EB3-C5E6-69DBF71CAD1F}"/>
              </a:ext>
            </a:extLst>
          </p:cNvPr>
          <p:cNvSpPr txBox="1"/>
          <p:nvPr/>
        </p:nvSpPr>
        <p:spPr>
          <a:xfrm>
            <a:off x="-4470514" y="4456050"/>
            <a:ext cx="3100591" cy="1169038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mall-scale SST </a:t>
            </a:r>
            <a:r>
              <a:rPr lang="it-IT" sz="1749" b="1" dirty="0" err="1"/>
              <a:t>variability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</a:t>
            </a:r>
            <a:r>
              <a:rPr lang="it-IT" sz="1749" b="1" dirty="0" err="1"/>
              <a:t>dominates</a:t>
            </a:r>
            <a:r>
              <a:rPr lang="it-IT" sz="1749" b="1" dirty="0"/>
              <a:t> LHF </a:t>
            </a:r>
            <a:r>
              <a:rPr lang="it-IT" sz="1749" b="1" dirty="0" err="1"/>
              <a:t>variance</a:t>
            </a:r>
            <a:r>
              <a:rPr lang="it-IT" sz="1749" b="1" dirty="0"/>
              <a:t> </a:t>
            </a:r>
          </a:p>
          <a:p>
            <a:pPr algn="ctr"/>
            <a:r>
              <a:rPr lang="it-IT" sz="1749" b="1" dirty="0"/>
              <a:t>  and </a:t>
            </a:r>
            <a:r>
              <a:rPr lang="it-IT" sz="1749" b="1" dirty="0" err="1"/>
              <a:t>excites</a:t>
            </a:r>
            <a:r>
              <a:rPr lang="it-IT" sz="1749" b="1" dirty="0"/>
              <a:t> non-linear </a:t>
            </a:r>
          </a:p>
          <a:p>
            <a:pPr algn="ctr"/>
            <a:r>
              <a:rPr lang="it-IT" sz="1749" b="1" dirty="0" err="1"/>
              <a:t>upscaling</a:t>
            </a:r>
            <a:r>
              <a:rPr lang="it-IT" sz="1749" b="1" dirty="0"/>
              <a:t> </a:t>
            </a:r>
            <a:r>
              <a:rPr lang="it-IT" sz="1749" b="1" dirty="0" err="1"/>
              <a:t>effects</a:t>
            </a:r>
            <a:endParaRPr lang="it-IT" sz="1749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5783F8-923A-7F96-9112-1883A5C9303D}"/>
              </a:ext>
            </a:extLst>
          </p:cNvPr>
          <p:cNvSpPr txBox="1"/>
          <p:nvPr/>
        </p:nvSpPr>
        <p:spPr>
          <a:xfrm>
            <a:off x="176914" y="4620114"/>
            <a:ext cx="3643330" cy="1707390"/>
          </a:xfrm>
          <a:prstGeom prst="rect">
            <a:avLst/>
          </a:prstGeom>
          <a:noFill/>
          <a:ln w="28575"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749" b="1" dirty="0"/>
              <a:t>SST – </a:t>
            </a:r>
            <a:r>
              <a:rPr lang="it-IT" sz="1749" b="1" dirty="0" err="1"/>
              <a:t>Entrainment</a:t>
            </a:r>
            <a:r>
              <a:rPr lang="it-IT" sz="1749" b="1" dirty="0"/>
              <a:t> </a:t>
            </a:r>
            <a:r>
              <a:rPr lang="it-IT" sz="1749" b="1" dirty="0" err="1"/>
              <a:t>coupling</a:t>
            </a:r>
            <a:r>
              <a:rPr lang="it-IT" sz="1749" b="1" dirty="0"/>
              <a:t> </a:t>
            </a:r>
            <a:r>
              <a:rPr lang="it-IT" sz="1749" b="1" dirty="0" err="1"/>
              <a:t>is</a:t>
            </a:r>
            <a:r>
              <a:rPr lang="it-IT" sz="1749" b="1" dirty="0"/>
              <a:t> scale-</a:t>
            </a:r>
            <a:r>
              <a:rPr lang="it-IT" sz="1749" b="1" dirty="0" err="1"/>
              <a:t>dependent</a:t>
            </a:r>
            <a:endParaRPr lang="it-IT" sz="1749" b="1" dirty="0"/>
          </a:p>
          <a:p>
            <a:pPr algn="ctr"/>
            <a:endParaRPr lang="it-IT" sz="1749" b="1" dirty="0"/>
          </a:p>
          <a:p>
            <a:pPr algn="ctr"/>
            <a:r>
              <a:rPr lang="it-IT" sz="1749" b="1" dirty="0" err="1"/>
              <a:t>Representative</a:t>
            </a:r>
            <a:r>
              <a:rPr lang="it-IT" sz="1749" b="1" dirty="0"/>
              <a:t> </a:t>
            </a:r>
            <a:r>
              <a:rPr lang="it-IT" sz="1749" b="1" dirty="0" err="1"/>
              <a:t>mechanism</a:t>
            </a:r>
            <a:r>
              <a:rPr lang="it-IT" sz="1749" b="1" dirty="0"/>
              <a:t> in range</a:t>
            </a:r>
          </a:p>
          <a:p>
            <a:pPr algn="ctr"/>
            <a:r>
              <a:rPr lang="it-IT" sz="1749" b="1" dirty="0"/>
              <a:t>100 – 400 km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3A34476D-C9D9-6303-9491-B33A9E99EA94}"/>
              </a:ext>
            </a:extLst>
          </p:cNvPr>
          <p:cNvSpPr/>
          <p:nvPr/>
        </p:nvSpPr>
        <p:spPr>
          <a:xfrm>
            <a:off x="6288972" y="435738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2A81EB93-F9A2-B1E5-7B71-425FFD563BA6}"/>
              </a:ext>
            </a:extLst>
          </p:cNvPr>
          <p:cNvSpPr/>
          <p:nvPr/>
        </p:nvSpPr>
        <p:spPr>
          <a:xfrm>
            <a:off x="5601730" y="44856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3506C34C-4073-8C2E-3066-7F18EB400565}"/>
              </a:ext>
            </a:extLst>
          </p:cNvPr>
          <p:cNvSpPr/>
          <p:nvPr/>
        </p:nvSpPr>
        <p:spPr>
          <a:xfrm>
            <a:off x="6016535" y="373969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0B3847BA-5F41-A8AD-A4EA-77294238546D}"/>
              </a:ext>
            </a:extLst>
          </p:cNvPr>
          <p:cNvSpPr/>
          <p:nvPr/>
        </p:nvSpPr>
        <p:spPr>
          <a:xfrm>
            <a:off x="5392171" y="3175893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85D6C8FC-7D2C-819C-61C3-E48EFECA70E4}"/>
              </a:ext>
            </a:extLst>
          </p:cNvPr>
          <p:cNvSpPr/>
          <p:nvPr/>
        </p:nvSpPr>
        <p:spPr>
          <a:xfrm>
            <a:off x="6077558" y="263604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FCCFCEA0-BBAD-1C68-DE65-15F39A01D802}"/>
              </a:ext>
            </a:extLst>
          </p:cNvPr>
          <p:cNvSpPr/>
          <p:nvPr/>
        </p:nvSpPr>
        <p:spPr>
          <a:xfrm>
            <a:off x="4970172" y="241554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25ABD3C-8C90-B698-E2E4-D2497CD7D496}"/>
              </a:ext>
            </a:extLst>
          </p:cNvPr>
          <p:cNvSpPr/>
          <p:nvPr/>
        </p:nvSpPr>
        <p:spPr>
          <a:xfrm>
            <a:off x="6968766" y="430540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39" name="Ovale 38">
            <a:extLst>
              <a:ext uri="{FF2B5EF4-FFF2-40B4-BE49-F238E27FC236}">
                <a16:creationId xmlns:a16="http://schemas.microsoft.com/office/drawing/2014/main" id="{888A0A0F-66CA-27B8-A45F-80B9C78DC91C}"/>
              </a:ext>
            </a:extLst>
          </p:cNvPr>
          <p:cNvSpPr/>
          <p:nvPr/>
        </p:nvSpPr>
        <p:spPr>
          <a:xfrm>
            <a:off x="6701378" y="3496565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0" name="Ovale 39">
            <a:extLst>
              <a:ext uri="{FF2B5EF4-FFF2-40B4-BE49-F238E27FC236}">
                <a16:creationId xmlns:a16="http://schemas.microsoft.com/office/drawing/2014/main" id="{0860274E-9E38-C772-7BF1-6C1A6F5C0157}"/>
              </a:ext>
            </a:extLst>
          </p:cNvPr>
          <p:cNvSpPr/>
          <p:nvPr/>
        </p:nvSpPr>
        <p:spPr>
          <a:xfrm>
            <a:off x="6858086" y="265358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C6703209-D393-1E24-12E0-680ED12039C7}"/>
              </a:ext>
            </a:extLst>
          </p:cNvPr>
          <p:cNvSpPr/>
          <p:nvPr/>
        </p:nvSpPr>
        <p:spPr>
          <a:xfrm>
            <a:off x="7969561" y="441105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7545EC99-0B50-5171-AF4C-204F0463E84F}"/>
              </a:ext>
            </a:extLst>
          </p:cNvPr>
          <p:cNvSpPr/>
          <p:nvPr/>
        </p:nvSpPr>
        <p:spPr>
          <a:xfrm>
            <a:off x="4847246" y="386418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6" name="Ovale 45">
            <a:extLst>
              <a:ext uri="{FF2B5EF4-FFF2-40B4-BE49-F238E27FC236}">
                <a16:creationId xmlns:a16="http://schemas.microsoft.com/office/drawing/2014/main" id="{C0C2CDB0-889B-0ABD-AB7C-153E4B61F7FF}"/>
              </a:ext>
            </a:extLst>
          </p:cNvPr>
          <p:cNvSpPr/>
          <p:nvPr/>
        </p:nvSpPr>
        <p:spPr>
          <a:xfrm>
            <a:off x="9546148" y="309363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8" name="Ovale 47">
            <a:extLst>
              <a:ext uri="{FF2B5EF4-FFF2-40B4-BE49-F238E27FC236}">
                <a16:creationId xmlns:a16="http://schemas.microsoft.com/office/drawing/2014/main" id="{77A9E990-60C8-4610-324C-BA30EC47CFB8}"/>
              </a:ext>
            </a:extLst>
          </p:cNvPr>
          <p:cNvSpPr/>
          <p:nvPr/>
        </p:nvSpPr>
        <p:spPr>
          <a:xfrm>
            <a:off x="10845694" y="3399308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49" name="Ovale 48">
            <a:extLst>
              <a:ext uri="{FF2B5EF4-FFF2-40B4-BE49-F238E27FC236}">
                <a16:creationId xmlns:a16="http://schemas.microsoft.com/office/drawing/2014/main" id="{F9D5182C-81E4-95C0-CF75-B7CD54F7123E}"/>
              </a:ext>
            </a:extLst>
          </p:cNvPr>
          <p:cNvSpPr/>
          <p:nvPr/>
        </p:nvSpPr>
        <p:spPr>
          <a:xfrm>
            <a:off x="10845694" y="4297381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144FA97F-ABE1-7225-F5E5-12971231111D}"/>
              </a:ext>
            </a:extLst>
          </p:cNvPr>
          <p:cNvSpPr/>
          <p:nvPr/>
        </p:nvSpPr>
        <p:spPr>
          <a:xfrm>
            <a:off x="8925765" y="39407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1" name="Ovale 50">
            <a:extLst>
              <a:ext uri="{FF2B5EF4-FFF2-40B4-BE49-F238E27FC236}">
                <a16:creationId xmlns:a16="http://schemas.microsoft.com/office/drawing/2014/main" id="{37A87C42-5112-4194-760B-9027C2813188}"/>
              </a:ext>
            </a:extLst>
          </p:cNvPr>
          <p:cNvSpPr/>
          <p:nvPr/>
        </p:nvSpPr>
        <p:spPr>
          <a:xfrm>
            <a:off x="7636337" y="3938269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BF55D3F1-D6EB-79EB-A973-ABE8E3E674E8}"/>
              </a:ext>
            </a:extLst>
          </p:cNvPr>
          <p:cNvSpPr/>
          <p:nvPr/>
        </p:nvSpPr>
        <p:spPr>
          <a:xfrm>
            <a:off x="9923873" y="2483570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DC46576-99DF-7D0A-AF79-75F89701D0AE}"/>
              </a:ext>
            </a:extLst>
          </p:cNvPr>
          <p:cNvSpPr/>
          <p:nvPr/>
        </p:nvSpPr>
        <p:spPr>
          <a:xfrm>
            <a:off x="7908538" y="204961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E4D1CA93-8015-483C-42BE-8091A184ED68}"/>
              </a:ext>
            </a:extLst>
          </p:cNvPr>
          <p:cNvSpPr/>
          <p:nvPr/>
        </p:nvSpPr>
        <p:spPr>
          <a:xfrm>
            <a:off x="7572990" y="3140947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0E2E691-6139-9685-C32E-96A7A796E570}"/>
              </a:ext>
            </a:extLst>
          </p:cNvPr>
          <p:cNvSpPr/>
          <p:nvPr/>
        </p:nvSpPr>
        <p:spPr>
          <a:xfrm>
            <a:off x="8277012" y="2743674"/>
            <a:ext cx="122047" cy="94617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49"/>
          </a:p>
        </p:txBody>
      </p:sp>
      <p:grpSp>
        <p:nvGrpSpPr>
          <p:cNvPr id="121" name="Gruppo 120">
            <a:extLst>
              <a:ext uri="{FF2B5EF4-FFF2-40B4-BE49-F238E27FC236}">
                <a16:creationId xmlns:a16="http://schemas.microsoft.com/office/drawing/2014/main" id="{59C80E04-3459-E81D-CCF2-C648B3D487A4}"/>
              </a:ext>
            </a:extLst>
          </p:cNvPr>
          <p:cNvGrpSpPr/>
          <p:nvPr/>
        </p:nvGrpSpPr>
        <p:grpSpPr>
          <a:xfrm>
            <a:off x="146070" y="2160253"/>
            <a:ext cx="3682144" cy="1835694"/>
            <a:chOff x="179623" y="1676850"/>
            <a:chExt cx="3682144" cy="1464096"/>
          </a:xfrm>
        </p:grpSpPr>
        <p:sp>
          <p:nvSpPr>
            <p:cNvPr id="119" name="CasellaDiTesto 118">
              <a:extLst>
                <a:ext uri="{FF2B5EF4-FFF2-40B4-BE49-F238E27FC236}">
                  <a16:creationId xmlns:a16="http://schemas.microsoft.com/office/drawing/2014/main" id="{0B030BA4-125C-5D34-DD32-DEC3CB91ED00}"/>
                </a:ext>
              </a:extLst>
            </p:cNvPr>
            <p:cNvSpPr txBox="1"/>
            <p:nvPr/>
          </p:nvSpPr>
          <p:spPr>
            <a:xfrm>
              <a:off x="179623" y="1676850"/>
              <a:ext cx="3682144" cy="1464096"/>
            </a:xfrm>
            <a:prstGeom prst="rect">
              <a:avLst/>
            </a:prstGeom>
            <a:noFill/>
            <a:ln w="28575">
              <a:solidFill>
                <a:schemeClr val="accent3">
                  <a:lumMod val="75000"/>
                </a:schemeClr>
              </a:solidFill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180000" indent="-180000" algn="l">
                <a:lnSpc>
                  <a:spcPts val="2300"/>
                </a:lnSpc>
                <a:spcBef>
                  <a:spcPts val="1150"/>
                </a:spcBef>
                <a:buFont typeface="Arial" panose="020B0604020202020204" pitchFamily="34" charset="0"/>
                <a:buChar char="•"/>
              </a:pPr>
              <a:endParaRPr lang="en-GB" sz="1600" dirty="0" err="1"/>
            </a:p>
          </p:txBody>
        </p:sp>
        <p:grpSp>
          <p:nvGrpSpPr>
            <p:cNvPr id="120" name="Gruppo 119">
              <a:extLst>
                <a:ext uri="{FF2B5EF4-FFF2-40B4-BE49-F238E27FC236}">
                  <a16:creationId xmlns:a16="http://schemas.microsoft.com/office/drawing/2014/main" id="{E7D6C1F1-66A7-04DA-B09F-2C045DF75C8D}"/>
                </a:ext>
              </a:extLst>
            </p:cNvPr>
            <p:cNvGrpSpPr/>
            <p:nvPr/>
          </p:nvGrpSpPr>
          <p:grpSpPr>
            <a:xfrm>
              <a:off x="235992" y="1764597"/>
              <a:ext cx="3531223" cy="1293931"/>
              <a:chOff x="235992" y="1764597"/>
              <a:chExt cx="3531223" cy="1293931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/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it-IT" sz="2333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𝑆𝑆𝑇</m:t>
                                      </m:r>
                                    </m:sub>
                                    <m:sup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sup>
                                  </m:sSub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⟨</m:t>
                                      </m:r>
                                      <m:r>
                                        <a:rPr lang="it-IT" sz="2333" i="1"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⟩</m:t>
                                      </m:r>
                                    </m:e>
                                    <m:sub>
                                      <m:r>
                                        <a:rPr lang="it-IT" sz="2333" b="0" i="1" smtClean="0">
                                          <a:latin typeface="Cambria Math" panose="02040503050406030204" pitchFamily="18" charset="0"/>
                                        </a:rPr>
                                        <m:t>𝐵𝐿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</m:den>
                          </m:f>
                          <m:r>
                            <a:rPr lang="it-IT" sz="2333" i="1">
                              <a:latin typeface="Cambria Math" panose="02040503050406030204" pitchFamily="18" charset="0"/>
                            </a:rPr>
                            <m:t>≳</m:t>
                          </m:r>
                          <m:f>
                            <m:fPr>
                              <m:ctrlPr>
                                <a:rPr lang="it-IT" sz="2333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Sup>
                                <m:sSubSupPr>
                                  <m:ctrlP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𝑆𝑆𝑇</m:t>
                                  </m:r>
                                </m:sub>
                                <m:sup>
                                  <m:r>
                                    <a:rPr lang="it-IT" sz="2333" i="1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bSup>
                            </m:num>
                            <m:den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𝑆𝑆𝑇</m:t>
                              </m:r>
                              <m:r>
                                <a:rPr lang="it-IT" sz="2333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den>
                          </m:f>
                        </m:oMath>
                      </m:oMathPara>
                    </a14:m>
                    <a:endParaRPr lang="it-IT" sz="2333" dirty="0"/>
                  </a:p>
                </p:txBody>
              </p:sp>
            </mc:Choice>
            <mc:Fallback xmlns="">
              <p:sp>
                <p:nvSpPr>
                  <p:cNvPr id="7" name="CasellaDiTesto 6">
                    <a:extLst>
                      <a:ext uri="{FF2B5EF4-FFF2-40B4-BE49-F238E27FC236}">
                        <a16:creationId xmlns:a16="http://schemas.microsoft.com/office/drawing/2014/main" id="{513B26EC-5395-6FC5-94F9-071433B2027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5992" y="2268825"/>
                    <a:ext cx="3531223" cy="789703"/>
                  </a:xfrm>
                  <a:prstGeom prst="rect">
                    <a:avLst/>
                  </a:prstGeom>
                  <a:blipFill>
                    <a:blip r:embed="rId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/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it-IT" sz="1749" b="1" dirty="0"/>
                      <a:t>Dry </a:t>
                    </a:r>
                    <a:r>
                      <a:rPr lang="it-IT" sz="1749" b="1" dirty="0" err="1"/>
                      <a:t>entrainment</a:t>
                    </a:r>
                    <a:r>
                      <a:rPr lang="it-IT" sz="1749" b="1" dirty="0"/>
                      <a:t> feeds </a:t>
                    </a:r>
                  </a:p>
                  <a:p>
                    <a:pPr algn="ctr"/>
                    <a:r>
                      <a:rPr lang="it-IT" sz="1749" b="1" dirty="0"/>
                      <a:t>back on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it-IT" sz="1749" b="1" i="1" smtClean="0">
                                <a:latin typeface="Cambria Math" panose="02040503050406030204" pitchFamily="18" charset="0"/>
                              </a:rPr>
                              <m:t>𝒒</m:t>
                            </m:r>
                          </m:sub>
                        </m:sSub>
                      </m:oMath>
                    </a14:m>
                    <a:endParaRPr lang="it-IT" sz="1749" b="1" dirty="0"/>
                  </a:p>
                </p:txBody>
              </p:sp>
            </mc:Choice>
            <mc:Fallback xmlns="">
              <p:sp>
                <p:nvSpPr>
                  <p:cNvPr id="8" name="CasellaDiTesto 7">
                    <a:extLst>
                      <a:ext uri="{FF2B5EF4-FFF2-40B4-BE49-F238E27FC236}">
                        <a16:creationId xmlns:a16="http://schemas.microsoft.com/office/drawing/2014/main" id="{DDEA767C-8467-B86A-9E79-933723FF5C0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30701" y="1764597"/>
                    <a:ext cx="2824347" cy="522399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t="-2778" b="-8333"/>
                    </a:stretch>
                  </a:blipFill>
                </p:spPr>
                <p:txBody>
                  <a:bodyPr/>
                  <a:lstStyle/>
                  <a:p>
                    <a:r>
                      <a:rPr lang="en-GB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CDA9140D-292E-46FD-BDC6-9F88B938213A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C86A4B7D-54E6-977E-60E2-0BD3500CA123}"/>
              </a:ext>
            </a:extLst>
          </p:cNvPr>
          <p:cNvSpPr txBox="1"/>
          <p:nvPr/>
        </p:nvSpPr>
        <p:spPr>
          <a:xfrm>
            <a:off x="893377" y="163143"/>
            <a:ext cx="6096000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mmary</a:t>
            </a:r>
            <a:r>
              <a:rPr kumimoji="0" lang="it-IT" sz="2400" b="1" i="0" u="none" strike="noStrike" kern="600" cap="all" spc="140" normalizeH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hematic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83" name="Gruppo 82">
            <a:extLst>
              <a:ext uri="{FF2B5EF4-FFF2-40B4-BE49-F238E27FC236}">
                <a16:creationId xmlns:a16="http://schemas.microsoft.com/office/drawing/2014/main" id="{EAC5AF47-92CA-8649-DE46-2E2512FBBD3D}"/>
              </a:ext>
            </a:extLst>
          </p:cNvPr>
          <p:cNvGrpSpPr/>
          <p:nvPr/>
        </p:nvGrpSpPr>
        <p:grpSpPr>
          <a:xfrm>
            <a:off x="7731856" y="1770411"/>
            <a:ext cx="3173040" cy="2779920"/>
            <a:chOff x="8174625" y="1628790"/>
            <a:chExt cx="3173040" cy="27799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">
              <p14:nvContentPartPr>
                <p14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14:cNvPr>
                <p14:cNvContentPartPr/>
                <p14:nvPr/>
              </p14:nvContentPartPr>
              <p14:xfrm>
                <a:off x="9214305" y="1628790"/>
                <a:ext cx="6120" cy="4320"/>
              </p14:xfrm>
            </p:contentPart>
          </mc:Choice>
          <mc:Fallback xmlns="">
            <p:pic>
              <p:nvPicPr>
                <p:cNvPr id="3" name="Input penna 2">
                  <a:extLst>
                    <a:ext uri="{FF2B5EF4-FFF2-40B4-BE49-F238E27FC236}">
                      <a16:creationId xmlns:a16="http://schemas.microsoft.com/office/drawing/2014/main" id="{70DB0CF3-56A5-1100-5F7B-1D0D3189F17D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151305" y="1250790"/>
                  <a:ext cx="131760" cy="759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">
              <p14:nvContentPartPr>
                <p14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14:cNvPr>
                <p14:cNvContentPartPr/>
                <p14:nvPr/>
              </p14:nvContentPartPr>
              <p14:xfrm>
                <a:off x="8808945" y="1896270"/>
                <a:ext cx="34560" cy="33840"/>
              </p14:xfrm>
            </p:contentPart>
          </mc:Choice>
          <mc:Fallback xmlns="">
            <p:pic>
              <p:nvPicPr>
                <p:cNvPr id="4" name="Input penna 3">
                  <a:extLst>
                    <a:ext uri="{FF2B5EF4-FFF2-40B4-BE49-F238E27FC236}">
                      <a16:creationId xmlns:a16="http://schemas.microsoft.com/office/drawing/2014/main" id="{688CA2DF-873F-134D-8710-E8E0EB5A5B4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46305" y="1518630"/>
                  <a:ext cx="160200" cy="78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">
              <p14:nvContentPartPr>
                <p14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14:cNvPr>
                <p14:cNvContentPartPr/>
                <p14:nvPr/>
              </p14:nvContentPartPr>
              <p14:xfrm>
                <a:off x="8174625" y="2082390"/>
                <a:ext cx="456840" cy="372960"/>
              </p14:xfrm>
            </p:contentPart>
          </mc:Choice>
          <mc:Fallback xmlns="">
            <p:pic>
              <p:nvPicPr>
                <p:cNvPr id="5" name="Input penna 4">
                  <a:extLst>
                    <a:ext uri="{FF2B5EF4-FFF2-40B4-BE49-F238E27FC236}">
                      <a16:creationId xmlns:a16="http://schemas.microsoft.com/office/drawing/2014/main" id="{23018D8A-2160-FBDA-DF42-D461FF609AA2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111985" y="1704390"/>
                  <a:ext cx="582480" cy="11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14:cNvPr>
                <p14:cNvContentPartPr/>
                <p14:nvPr/>
              </p14:nvContentPartPr>
              <p14:xfrm>
                <a:off x="8463705" y="1903830"/>
                <a:ext cx="1397520" cy="1235880"/>
              </p14:xfrm>
            </p:contentPart>
          </mc:Choice>
          <mc:Fallback xmlns="">
            <p:pic>
              <p:nvPicPr>
                <p:cNvPr id="62" name="Input penna 61">
                  <a:extLst>
                    <a:ext uri="{FF2B5EF4-FFF2-40B4-BE49-F238E27FC236}">
                      <a16:creationId xmlns:a16="http://schemas.microsoft.com/office/drawing/2014/main" id="{8FFF56FC-FC6F-E185-2E4C-9080DDD8ACC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401065" y="1526190"/>
                  <a:ext cx="1523160" cy="199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14:cNvPr>
                <p14:cNvContentPartPr/>
                <p14:nvPr/>
              </p14:nvContentPartPr>
              <p14:xfrm>
                <a:off x="8317905" y="2212350"/>
                <a:ext cx="1417320" cy="1297440"/>
              </p14:xfrm>
            </p:contentPart>
          </mc:Choice>
          <mc:Fallback xmlns="">
            <p:pic>
              <p:nvPicPr>
                <p:cNvPr id="63" name="Input penna 62">
                  <a:extLst>
                    <a:ext uri="{FF2B5EF4-FFF2-40B4-BE49-F238E27FC236}">
                      <a16:creationId xmlns:a16="http://schemas.microsoft.com/office/drawing/2014/main" id="{413996A0-B55E-66D6-BD6A-1F68B14D825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8255265" y="1834350"/>
                  <a:ext cx="1542960" cy="205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14:cNvPr>
                <p14:cNvContentPartPr/>
                <p14:nvPr/>
              </p14:nvContentPartPr>
              <p14:xfrm>
                <a:off x="8462625" y="2591070"/>
                <a:ext cx="1338120" cy="1198800"/>
              </p14:xfrm>
            </p:contentPart>
          </mc:Choice>
          <mc:Fallback xmlns="">
            <p:pic>
              <p:nvPicPr>
                <p:cNvPr id="64" name="Input penna 63">
                  <a:extLst>
                    <a:ext uri="{FF2B5EF4-FFF2-40B4-BE49-F238E27FC236}">
                      <a16:creationId xmlns:a16="http://schemas.microsoft.com/office/drawing/2014/main" id="{413FCE69-CEA6-94CA-C320-98E2C8E35D6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399625" y="2213070"/>
                  <a:ext cx="1463760" cy="19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14:cNvPr>
                <p14:cNvContentPartPr/>
                <p14:nvPr/>
              </p14:nvContentPartPr>
              <p14:xfrm>
                <a:off x="8540385" y="2634630"/>
                <a:ext cx="1834200" cy="1599480"/>
              </p14:xfrm>
            </p:contentPart>
          </mc:Choice>
          <mc:Fallback xmlns="">
            <p:pic>
              <p:nvPicPr>
                <p:cNvPr id="66" name="Input penna 65">
                  <a:extLst>
                    <a:ext uri="{FF2B5EF4-FFF2-40B4-BE49-F238E27FC236}">
                      <a16:creationId xmlns:a16="http://schemas.microsoft.com/office/drawing/2014/main" id="{3483A64E-B2CB-8E6E-30DD-FA7F96AF0C5B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477385" y="2256630"/>
                  <a:ext cx="1959840" cy="235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14:cNvPr>
                <p14:cNvContentPartPr/>
                <p14:nvPr/>
              </p14:nvContentPartPr>
              <p14:xfrm>
                <a:off x="8792385" y="2746590"/>
                <a:ext cx="1962720" cy="1662120"/>
              </p14:xfrm>
            </p:contentPart>
          </mc:Choice>
          <mc:Fallback xmlns="">
            <p:pic>
              <p:nvPicPr>
                <p:cNvPr id="67" name="Input penna 66">
                  <a:extLst>
                    <a:ext uri="{FF2B5EF4-FFF2-40B4-BE49-F238E27FC236}">
                      <a16:creationId xmlns:a16="http://schemas.microsoft.com/office/drawing/2014/main" id="{2ACA83E9-6EC8-BE2F-C340-65E501C55F4E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729745" y="2368590"/>
                  <a:ext cx="2088360" cy="241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14:cNvPr>
                <p14:cNvContentPartPr/>
                <p14:nvPr/>
              </p14:nvContentPartPr>
              <p14:xfrm>
                <a:off x="9814425" y="3079590"/>
                <a:ext cx="1085760" cy="880560"/>
              </p14:xfrm>
            </p:contentPart>
          </mc:Choice>
          <mc:Fallback xmlns="">
            <p:pic>
              <p:nvPicPr>
                <p:cNvPr id="68" name="Input penna 67">
                  <a:extLst>
                    <a:ext uri="{FF2B5EF4-FFF2-40B4-BE49-F238E27FC236}">
                      <a16:creationId xmlns:a16="http://schemas.microsoft.com/office/drawing/2014/main" id="{7CA215E4-1500-FA79-0AAF-8F06917B201D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751425" y="2701950"/>
                  <a:ext cx="1211400" cy="163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2">
              <p14:nvContentPartPr>
                <p14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14:cNvPr>
                <p14:cNvContentPartPr/>
                <p14:nvPr/>
              </p14:nvContentPartPr>
              <p14:xfrm>
                <a:off x="10730985" y="3441390"/>
                <a:ext cx="452520" cy="395280"/>
              </p14:xfrm>
            </p:contentPart>
          </mc:Choice>
          <mc:Fallback xmlns="">
            <p:pic>
              <p:nvPicPr>
                <p:cNvPr id="70" name="Input penna 69">
                  <a:extLst>
                    <a:ext uri="{FF2B5EF4-FFF2-40B4-BE49-F238E27FC236}">
                      <a16:creationId xmlns:a16="http://schemas.microsoft.com/office/drawing/2014/main" id="{E07A78DD-C1B2-5793-A906-CDDA7DDD2B63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10668345" y="3063750"/>
                  <a:ext cx="578160" cy="115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4">
              <p14:nvContentPartPr>
                <p14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14:cNvPr>
                <p14:cNvContentPartPr/>
                <p14:nvPr/>
              </p14:nvContentPartPr>
              <p14:xfrm>
                <a:off x="10746465" y="3709950"/>
                <a:ext cx="443520" cy="423720"/>
              </p14:xfrm>
            </p:contentPart>
          </mc:Choice>
          <mc:Fallback xmlns="">
            <p:pic>
              <p:nvPicPr>
                <p:cNvPr id="71" name="Input penna 70">
                  <a:extLst>
                    <a:ext uri="{FF2B5EF4-FFF2-40B4-BE49-F238E27FC236}">
                      <a16:creationId xmlns:a16="http://schemas.microsoft.com/office/drawing/2014/main" id="{1856EB49-801E-7B1F-19C3-C4B541EFB89D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10683825" y="3332310"/>
                  <a:ext cx="569160" cy="117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6">
              <p14:nvContentPartPr>
                <p14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14:cNvPr>
                <p14:cNvContentPartPr/>
                <p14:nvPr/>
              </p14:nvContentPartPr>
              <p14:xfrm>
                <a:off x="10355505" y="1689270"/>
                <a:ext cx="487800" cy="389160"/>
              </p14:xfrm>
            </p:contentPart>
          </mc:Choice>
          <mc:Fallback xmlns="">
            <p:pic>
              <p:nvPicPr>
                <p:cNvPr id="73" name="Input penna 72">
                  <a:extLst>
                    <a:ext uri="{FF2B5EF4-FFF2-40B4-BE49-F238E27FC236}">
                      <a16:creationId xmlns:a16="http://schemas.microsoft.com/office/drawing/2014/main" id="{19F11553-6C74-86E5-33A9-10CF9EBB8730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10292865" y="1311630"/>
                  <a:ext cx="613440" cy="114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8">
              <p14:nvContentPartPr>
                <p14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14:cNvPr>
                <p14:cNvContentPartPr/>
                <p14:nvPr/>
              </p14:nvContentPartPr>
              <p14:xfrm>
                <a:off x="10335705" y="1774230"/>
                <a:ext cx="766440" cy="561240"/>
              </p14:xfrm>
            </p:contentPart>
          </mc:Choice>
          <mc:Fallback xmlns="">
            <p:pic>
              <p:nvPicPr>
                <p:cNvPr id="74" name="Input penna 73">
                  <a:extLst>
                    <a:ext uri="{FF2B5EF4-FFF2-40B4-BE49-F238E27FC236}">
                      <a16:creationId xmlns:a16="http://schemas.microsoft.com/office/drawing/2014/main" id="{CCE3B04A-98ED-6E9C-A3D0-095D4B6644B4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10273065" y="1396590"/>
                  <a:ext cx="892080" cy="131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0">
              <p14:nvContentPartPr>
                <p14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14:cNvPr>
                <p14:cNvContentPartPr/>
                <p14:nvPr/>
              </p14:nvContentPartPr>
              <p14:xfrm>
                <a:off x="10469265" y="2455350"/>
                <a:ext cx="162360" cy="137520"/>
              </p14:xfrm>
            </p:contentPart>
          </mc:Choice>
          <mc:Fallback xmlns="">
            <p:pic>
              <p:nvPicPr>
                <p:cNvPr id="75" name="Input penna 74">
                  <a:extLst>
                    <a:ext uri="{FF2B5EF4-FFF2-40B4-BE49-F238E27FC236}">
                      <a16:creationId xmlns:a16="http://schemas.microsoft.com/office/drawing/2014/main" id="{8A93CA1D-E605-CB18-BEC6-6FDF637F39DD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10406265" y="2077350"/>
                  <a:ext cx="288000" cy="893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2">
              <p14:nvContentPartPr>
                <p14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14:cNvPr>
                <p14:cNvContentPartPr/>
                <p14:nvPr/>
              </p14:nvContentPartPr>
              <p14:xfrm>
                <a:off x="10873905" y="2535270"/>
                <a:ext cx="471600" cy="357120"/>
              </p14:xfrm>
            </p:contentPart>
          </mc:Choice>
          <mc:Fallback xmlns="">
            <p:pic>
              <p:nvPicPr>
                <p:cNvPr id="76" name="Input penna 75">
                  <a:extLst>
                    <a:ext uri="{FF2B5EF4-FFF2-40B4-BE49-F238E27FC236}">
                      <a16:creationId xmlns:a16="http://schemas.microsoft.com/office/drawing/2014/main" id="{8A212E6B-339D-96A1-4114-9319C193506C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10810905" y="2157630"/>
                  <a:ext cx="597240" cy="1112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14:cNvPr>
                <p14:cNvContentPartPr/>
                <p14:nvPr/>
              </p14:nvContentPartPr>
              <p14:xfrm>
                <a:off x="10946625" y="2721750"/>
                <a:ext cx="380160" cy="298440"/>
              </p14:xfrm>
            </p:contentPart>
          </mc:Choice>
          <mc:Fallback xmlns="">
            <p:pic>
              <p:nvPicPr>
                <p:cNvPr id="77" name="Input penna 76">
                  <a:extLst>
                    <a:ext uri="{FF2B5EF4-FFF2-40B4-BE49-F238E27FC236}">
                      <a16:creationId xmlns:a16="http://schemas.microsoft.com/office/drawing/2014/main" id="{16841F78-B6B2-A20C-322D-A3EA0FBBEF0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10883985" y="2343750"/>
                  <a:ext cx="505800" cy="1054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6">
              <p14:nvContentPartPr>
                <p14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14:cNvPr>
                <p14:cNvContentPartPr/>
                <p14:nvPr/>
              </p14:nvContentPartPr>
              <p14:xfrm>
                <a:off x="10984425" y="2951430"/>
                <a:ext cx="363240" cy="286200"/>
              </p14:xfrm>
            </p:contentPart>
          </mc:Choice>
          <mc:Fallback xmlns="">
            <p:pic>
              <p:nvPicPr>
                <p:cNvPr id="78" name="Input penna 77">
                  <a:extLst>
                    <a:ext uri="{FF2B5EF4-FFF2-40B4-BE49-F238E27FC236}">
                      <a16:creationId xmlns:a16="http://schemas.microsoft.com/office/drawing/2014/main" id="{FC9ADE95-2A95-FFCE-B09A-93338FD318B3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10921785" y="2573790"/>
                  <a:ext cx="488880" cy="10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8">
              <p14:nvContentPartPr>
                <p14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14:cNvPr>
                <p14:cNvContentPartPr/>
                <p14:nvPr/>
              </p14:nvContentPartPr>
              <p14:xfrm>
                <a:off x="11132025" y="3249510"/>
                <a:ext cx="119160" cy="103320"/>
              </p14:xfrm>
            </p:contentPart>
          </mc:Choice>
          <mc:Fallback xmlns="">
            <p:pic>
              <p:nvPicPr>
                <p:cNvPr id="79" name="Input penna 78">
                  <a:extLst>
                    <a:ext uri="{FF2B5EF4-FFF2-40B4-BE49-F238E27FC236}">
                      <a16:creationId xmlns:a16="http://schemas.microsoft.com/office/drawing/2014/main" id="{4EC37FF6-0E81-0E29-C683-7B8A11FFC3A9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11069385" y="2871870"/>
                  <a:ext cx="244800" cy="85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0">
              <p14:nvContentPartPr>
                <p14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14:cNvPr>
                <p14:cNvContentPartPr/>
                <p14:nvPr/>
              </p14:nvContentPartPr>
              <p14:xfrm>
                <a:off x="8835225" y="1696110"/>
                <a:ext cx="434520" cy="340560"/>
              </p14:xfrm>
            </p:contentPart>
          </mc:Choice>
          <mc:Fallback xmlns="">
            <p:pic>
              <p:nvPicPr>
                <p:cNvPr id="81" name="Input penna 80">
                  <a:extLst>
                    <a:ext uri="{FF2B5EF4-FFF2-40B4-BE49-F238E27FC236}">
                      <a16:creationId xmlns:a16="http://schemas.microsoft.com/office/drawing/2014/main" id="{34A95076-D8FE-EF55-1B49-466CA6481A44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8772225" y="1318470"/>
                  <a:ext cx="560160" cy="10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2">
              <p14:nvContentPartPr>
                <p14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14:cNvPr>
                <p14:cNvContentPartPr/>
                <p14:nvPr/>
              </p14:nvContentPartPr>
              <p14:xfrm>
                <a:off x="9140145" y="1904550"/>
                <a:ext cx="287640" cy="213840"/>
              </p14:xfrm>
            </p:contentPart>
          </mc:Choice>
          <mc:Fallback xmlns="">
            <p:pic>
              <p:nvPicPr>
                <p:cNvPr id="82" name="Input penna 81">
                  <a:extLst>
                    <a:ext uri="{FF2B5EF4-FFF2-40B4-BE49-F238E27FC236}">
                      <a16:creationId xmlns:a16="http://schemas.microsoft.com/office/drawing/2014/main" id="{6A58DBC2-156A-D938-2289-418038499271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077505" y="1526910"/>
                  <a:ext cx="413280" cy="969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3" name="Gruppo 112">
            <a:extLst>
              <a:ext uri="{FF2B5EF4-FFF2-40B4-BE49-F238E27FC236}">
                <a16:creationId xmlns:a16="http://schemas.microsoft.com/office/drawing/2014/main" id="{DEF0317A-3610-0982-A290-811F68CA035F}"/>
              </a:ext>
            </a:extLst>
          </p:cNvPr>
          <p:cNvGrpSpPr/>
          <p:nvPr/>
        </p:nvGrpSpPr>
        <p:grpSpPr>
          <a:xfrm>
            <a:off x="4955014" y="2091985"/>
            <a:ext cx="2782080" cy="2488320"/>
            <a:chOff x="4812945" y="2161590"/>
            <a:chExt cx="2782080" cy="24883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4">
              <p14:nvContentPartPr>
                <p14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14:cNvPr>
                <p14:cNvContentPartPr/>
                <p14:nvPr/>
              </p14:nvContentPartPr>
              <p14:xfrm>
                <a:off x="4872345" y="2694750"/>
                <a:ext cx="364680" cy="173160"/>
              </p14:xfrm>
            </p:contentPart>
          </mc:Choice>
          <mc:Fallback xmlns="">
            <p:pic>
              <p:nvPicPr>
                <p:cNvPr id="84" name="Input penna 83">
                  <a:extLst>
                    <a:ext uri="{FF2B5EF4-FFF2-40B4-BE49-F238E27FC236}">
                      <a16:creationId xmlns:a16="http://schemas.microsoft.com/office/drawing/2014/main" id="{5AA8ECE1-61C3-507A-3ED9-C1282A7CAD89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4809705" y="2316750"/>
                  <a:ext cx="490320" cy="92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6">
              <p14:nvContentPartPr>
                <p14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14:cNvPr>
                <p14:cNvContentPartPr/>
                <p14:nvPr/>
              </p14:nvContentPartPr>
              <p14:xfrm>
                <a:off x="4812945" y="3082830"/>
                <a:ext cx="280080" cy="149760"/>
              </p14:xfrm>
            </p:contentPart>
          </mc:Choice>
          <mc:Fallback xmlns="">
            <p:pic>
              <p:nvPicPr>
                <p:cNvPr id="85" name="Input penna 84">
                  <a:extLst>
                    <a:ext uri="{FF2B5EF4-FFF2-40B4-BE49-F238E27FC236}">
                      <a16:creationId xmlns:a16="http://schemas.microsoft.com/office/drawing/2014/main" id="{2C938071-EC53-DF4D-12AC-B0F308146D4C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4750305" y="2705190"/>
                  <a:ext cx="405720" cy="905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8">
              <p14:nvContentPartPr>
                <p14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14:cNvPr>
                <p14:cNvContentPartPr/>
                <p14:nvPr/>
              </p14:nvContentPartPr>
              <p14:xfrm>
                <a:off x="4856865" y="3291630"/>
                <a:ext cx="350640" cy="198360"/>
              </p14:xfrm>
            </p:contentPart>
          </mc:Choice>
          <mc:Fallback xmlns="">
            <p:pic>
              <p:nvPicPr>
                <p:cNvPr id="86" name="Input penna 85">
                  <a:extLst>
                    <a:ext uri="{FF2B5EF4-FFF2-40B4-BE49-F238E27FC236}">
                      <a16:creationId xmlns:a16="http://schemas.microsoft.com/office/drawing/2014/main" id="{A3B88BC5-05EC-1E1F-386B-29DC5B73F71A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4794225" y="2913630"/>
                  <a:ext cx="476280" cy="954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0">
              <p14:nvContentPartPr>
                <p14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14:cNvPr>
                <p14:cNvContentPartPr/>
                <p14:nvPr/>
              </p14:nvContentPartPr>
              <p14:xfrm>
                <a:off x="5337105" y="3486750"/>
                <a:ext cx="417960" cy="192240"/>
              </p14:xfrm>
            </p:contentPart>
          </mc:Choice>
          <mc:Fallback xmlns="">
            <p:pic>
              <p:nvPicPr>
                <p:cNvPr id="88" name="Input penna 87">
                  <a:extLst>
                    <a:ext uri="{FF2B5EF4-FFF2-40B4-BE49-F238E27FC236}">
                      <a16:creationId xmlns:a16="http://schemas.microsoft.com/office/drawing/2014/main" id="{AE35C587-B9DA-4CE5-7C68-31F653143981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274105" y="3109110"/>
                  <a:ext cx="543600" cy="94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2">
              <p14:nvContentPartPr>
                <p14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14:cNvPr>
                <p14:cNvContentPartPr/>
                <p14:nvPr/>
              </p14:nvContentPartPr>
              <p14:xfrm>
                <a:off x="5411625" y="3494310"/>
                <a:ext cx="625680" cy="374400"/>
              </p14:xfrm>
            </p:contentPart>
          </mc:Choice>
          <mc:Fallback xmlns="">
            <p:pic>
              <p:nvPicPr>
                <p:cNvPr id="89" name="Input penna 88">
                  <a:extLst>
                    <a:ext uri="{FF2B5EF4-FFF2-40B4-BE49-F238E27FC236}">
                      <a16:creationId xmlns:a16="http://schemas.microsoft.com/office/drawing/2014/main" id="{491DE6AC-82F0-ADC0-F8D7-250F65414D17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5348985" y="3116310"/>
                  <a:ext cx="751320" cy="113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4">
              <p14:nvContentPartPr>
                <p14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14:cNvPr>
                <p14:cNvContentPartPr/>
                <p14:nvPr/>
              </p14:nvContentPartPr>
              <p14:xfrm>
                <a:off x="5557425" y="3738750"/>
                <a:ext cx="469800" cy="252360"/>
              </p14:xfrm>
            </p:contentPart>
          </mc:Choice>
          <mc:Fallback xmlns="">
            <p:pic>
              <p:nvPicPr>
                <p:cNvPr id="90" name="Input penna 89">
                  <a:extLst>
                    <a:ext uri="{FF2B5EF4-FFF2-40B4-BE49-F238E27FC236}">
                      <a16:creationId xmlns:a16="http://schemas.microsoft.com/office/drawing/2014/main" id="{8BED78A1-3246-9CCD-D8B0-44B667999988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5494785" y="3360750"/>
                  <a:ext cx="595440" cy="1008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6">
              <p14:nvContentPartPr>
                <p14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14:cNvPr>
                <p14:cNvContentPartPr/>
                <p14:nvPr/>
              </p14:nvContentPartPr>
              <p14:xfrm>
                <a:off x="5726265" y="3969150"/>
                <a:ext cx="397080" cy="215280"/>
              </p14:xfrm>
            </p:contentPart>
          </mc:Choice>
          <mc:Fallback xmlns="">
            <p:pic>
              <p:nvPicPr>
                <p:cNvPr id="91" name="Input penna 90">
                  <a:extLst>
                    <a:ext uri="{FF2B5EF4-FFF2-40B4-BE49-F238E27FC236}">
                      <a16:creationId xmlns:a16="http://schemas.microsoft.com/office/drawing/2014/main" id="{BBCE6183-DDA1-82A7-2EA8-A409C58FDF73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5663265" y="3591510"/>
                  <a:ext cx="522720" cy="970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8">
              <p14:nvContentPartPr>
                <p14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14:cNvPr>
                <p14:cNvContentPartPr/>
                <p14:nvPr/>
              </p14:nvContentPartPr>
              <p14:xfrm>
                <a:off x="5959185" y="4095510"/>
                <a:ext cx="325800" cy="168840"/>
              </p14:xfrm>
            </p:contentPart>
          </mc:Choice>
          <mc:Fallback xmlns="">
            <p:pic>
              <p:nvPicPr>
                <p:cNvPr id="92" name="Input penna 91">
                  <a:extLst>
                    <a:ext uri="{FF2B5EF4-FFF2-40B4-BE49-F238E27FC236}">
                      <a16:creationId xmlns:a16="http://schemas.microsoft.com/office/drawing/2014/main" id="{06D1AEA1-3392-CBAD-8C14-A3A7E629069F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5896185" y="3717510"/>
                  <a:ext cx="451440" cy="92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0">
              <p14:nvContentPartPr>
                <p14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14:cNvPr>
                <p14:cNvContentPartPr/>
                <p14:nvPr/>
              </p14:nvContentPartPr>
              <p14:xfrm>
                <a:off x="5973225" y="4515630"/>
                <a:ext cx="120240" cy="43560"/>
              </p14:xfrm>
            </p:contentPart>
          </mc:Choice>
          <mc:Fallback xmlns="">
            <p:pic>
              <p:nvPicPr>
                <p:cNvPr id="93" name="Input penna 92">
                  <a:extLst>
                    <a:ext uri="{FF2B5EF4-FFF2-40B4-BE49-F238E27FC236}">
                      <a16:creationId xmlns:a16="http://schemas.microsoft.com/office/drawing/2014/main" id="{21CD2F5F-5EED-BCF2-3465-58670A83356C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5910585" y="4137990"/>
                  <a:ext cx="245880" cy="79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2">
              <p14:nvContentPartPr>
                <p14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14:cNvPr>
                <p14:cNvContentPartPr/>
                <p14:nvPr/>
              </p14:nvContentPartPr>
              <p14:xfrm>
                <a:off x="6506385" y="4479990"/>
                <a:ext cx="248040" cy="169920"/>
              </p14:xfrm>
            </p:contentPart>
          </mc:Choice>
          <mc:Fallback xmlns="">
            <p:pic>
              <p:nvPicPr>
                <p:cNvPr id="94" name="Input penna 93">
                  <a:extLst>
                    <a:ext uri="{FF2B5EF4-FFF2-40B4-BE49-F238E27FC236}">
                      <a16:creationId xmlns:a16="http://schemas.microsoft.com/office/drawing/2014/main" id="{F378875B-F2DE-F2A7-0F10-18A8C49A6DBD}"/>
                    </a:ext>
                  </a:extLst>
                </p:cNvPr>
                <p:cNvPicPr/>
                <p:nvPr/>
              </p:nvPicPr>
              <p:blipFill>
                <a:blip r:embed="rId63"/>
                <a:stretch>
                  <a:fillRect/>
                </a:stretch>
              </p:blipFill>
              <p:spPr>
                <a:xfrm>
                  <a:off x="6443745" y="4102350"/>
                  <a:ext cx="373680" cy="9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4">
              <p14:nvContentPartPr>
                <p14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14:cNvPr>
                <p14:cNvContentPartPr/>
                <p14:nvPr/>
              </p14:nvContentPartPr>
              <p14:xfrm>
                <a:off x="6347265" y="3909750"/>
                <a:ext cx="411120" cy="313920"/>
              </p14:xfrm>
            </p:contentPart>
          </mc:Choice>
          <mc:Fallback xmlns="">
            <p:pic>
              <p:nvPicPr>
                <p:cNvPr id="95" name="Input penna 94">
                  <a:extLst>
                    <a:ext uri="{FF2B5EF4-FFF2-40B4-BE49-F238E27FC236}">
                      <a16:creationId xmlns:a16="http://schemas.microsoft.com/office/drawing/2014/main" id="{DB7A2A16-818B-BFA6-E3F9-2079A0A05CE8}"/>
                    </a:ext>
                  </a:extLst>
                </p:cNvPr>
                <p:cNvPicPr/>
                <p:nvPr/>
              </p:nvPicPr>
              <p:blipFill>
                <a:blip r:embed="rId65"/>
                <a:stretch>
                  <a:fillRect/>
                </a:stretch>
              </p:blipFill>
              <p:spPr>
                <a:xfrm>
                  <a:off x="6284265" y="3531750"/>
                  <a:ext cx="536760" cy="106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6">
              <p14:nvContentPartPr>
                <p14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14:cNvPr>
                <p14:cNvContentPartPr/>
                <p14:nvPr/>
              </p14:nvContentPartPr>
              <p14:xfrm>
                <a:off x="6240345" y="3640830"/>
                <a:ext cx="446400" cy="330480"/>
              </p14:xfrm>
            </p:contentPart>
          </mc:Choice>
          <mc:Fallback xmlns="">
            <p:pic>
              <p:nvPicPr>
                <p:cNvPr id="96" name="Input penna 95">
                  <a:extLst>
                    <a:ext uri="{FF2B5EF4-FFF2-40B4-BE49-F238E27FC236}">
                      <a16:creationId xmlns:a16="http://schemas.microsoft.com/office/drawing/2014/main" id="{D394744F-568B-750B-97FF-F145B71F4109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6177345" y="3263190"/>
                  <a:ext cx="572040" cy="1086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8">
              <p14:nvContentPartPr>
                <p14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14:cNvPr>
                <p14:cNvContentPartPr/>
                <p14:nvPr/>
              </p14:nvContentPartPr>
              <p14:xfrm>
                <a:off x="6120825" y="3402510"/>
                <a:ext cx="427320" cy="316440"/>
              </p14:xfrm>
            </p:contentPart>
          </mc:Choice>
          <mc:Fallback xmlns="">
            <p:pic>
              <p:nvPicPr>
                <p:cNvPr id="97" name="Input penna 96">
                  <a:extLst>
                    <a:ext uri="{FF2B5EF4-FFF2-40B4-BE49-F238E27FC236}">
                      <a16:creationId xmlns:a16="http://schemas.microsoft.com/office/drawing/2014/main" id="{5651D11F-7BE1-9016-D365-5A39509299DB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6058185" y="3024870"/>
                  <a:ext cx="552960" cy="107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0">
              <p14:nvContentPartPr>
                <p14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14:cNvPr>
                <p14:cNvContentPartPr/>
                <p14:nvPr/>
              </p14:nvContentPartPr>
              <p14:xfrm>
                <a:off x="6029025" y="3070230"/>
                <a:ext cx="488520" cy="402480"/>
              </p14:xfrm>
            </p:contentPart>
          </mc:Choice>
          <mc:Fallback xmlns="">
            <p:pic>
              <p:nvPicPr>
                <p:cNvPr id="98" name="Input penna 97">
                  <a:extLst>
                    <a:ext uri="{FF2B5EF4-FFF2-40B4-BE49-F238E27FC236}">
                      <a16:creationId xmlns:a16="http://schemas.microsoft.com/office/drawing/2014/main" id="{C3CF23C5-CD92-4B83-C44A-E19CED628E95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966025" y="2692230"/>
                  <a:ext cx="614160" cy="115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2">
              <p14:nvContentPartPr>
                <p14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14:cNvPr>
                <p14:cNvContentPartPr/>
                <p14:nvPr/>
              </p14:nvContentPartPr>
              <p14:xfrm>
                <a:off x="5721225" y="2877630"/>
                <a:ext cx="557640" cy="446760"/>
              </p14:xfrm>
            </p:contentPart>
          </mc:Choice>
          <mc:Fallback xmlns="">
            <p:pic>
              <p:nvPicPr>
                <p:cNvPr id="99" name="Input penna 98">
                  <a:extLst>
                    <a:ext uri="{FF2B5EF4-FFF2-40B4-BE49-F238E27FC236}">
                      <a16:creationId xmlns:a16="http://schemas.microsoft.com/office/drawing/2014/main" id="{20CB4D0E-911F-018E-C45C-F300F46EC00F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658585" y="2499630"/>
                  <a:ext cx="683280" cy="12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4">
              <p14:nvContentPartPr>
                <p14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14:cNvPr>
                <p14:cNvContentPartPr/>
                <p14:nvPr/>
              </p14:nvContentPartPr>
              <p14:xfrm>
                <a:off x="5574345" y="2619870"/>
                <a:ext cx="494640" cy="405000"/>
              </p14:xfrm>
            </p:contentPart>
          </mc:Choice>
          <mc:Fallback xmlns="">
            <p:pic>
              <p:nvPicPr>
                <p:cNvPr id="100" name="Input penna 99">
                  <a:extLst>
                    <a:ext uri="{FF2B5EF4-FFF2-40B4-BE49-F238E27FC236}">
                      <a16:creationId xmlns:a16="http://schemas.microsoft.com/office/drawing/2014/main" id="{9F9F5686-24B9-8351-B828-C8009AFE15E8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511345" y="2242230"/>
                  <a:ext cx="620280" cy="116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6">
              <p14:nvContentPartPr>
                <p14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14:cNvPr>
                <p14:cNvContentPartPr/>
                <p14:nvPr/>
              </p14:nvContentPartPr>
              <p14:xfrm>
                <a:off x="5427105" y="2501430"/>
                <a:ext cx="362520" cy="275760"/>
              </p14:xfrm>
            </p:contentPart>
          </mc:Choice>
          <mc:Fallback xmlns="">
            <p:pic>
              <p:nvPicPr>
                <p:cNvPr id="101" name="Input penna 100">
                  <a:extLst>
                    <a:ext uri="{FF2B5EF4-FFF2-40B4-BE49-F238E27FC236}">
                      <a16:creationId xmlns:a16="http://schemas.microsoft.com/office/drawing/2014/main" id="{EBC9CB96-6FC5-9C08-41B4-2BDC29E3B1B8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5364465" y="2123430"/>
                  <a:ext cx="488160" cy="103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78">
              <p14:nvContentPartPr>
                <p14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14:cNvPr>
                <p14:cNvContentPartPr/>
                <p14:nvPr/>
              </p14:nvContentPartPr>
              <p14:xfrm>
                <a:off x="5491905" y="2161590"/>
                <a:ext cx="574920" cy="343440"/>
              </p14:xfrm>
            </p:contentPart>
          </mc:Choice>
          <mc:Fallback xmlns="">
            <p:pic>
              <p:nvPicPr>
                <p:cNvPr id="102" name="Input penna 101">
                  <a:extLst>
                    <a:ext uri="{FF2B5EF4-FFF2-40B4-BE49-F238E27FC236}">
                      <a16:creationId xmlns:a16="http://schemas.microsoft.com/office/drawing/2014/main" id="{726CBD6E-6C3B-E670-B4D7-D60730E00DB1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5429265" y="1783950"/>
                  <a:ext cx="700560" cy="109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0">
              <p14:nvContentPartPr>
                <p14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14:cNvPr>
                <p14:cNvContentPartPr/>
                <p14:nvPr/>
              </p14:nvContentPartPr>
              <p14:xfrm>
                <a:off x="6407745" y="2311350"/>
                <a:ext cx="360000" cy="138240"/>
              </p14:xfrm>
            </p:contentPart>
          </mc:Choice>
          <mc:Fallback xmlns="">
            <p:pic>
              <p:nvPicPr>
                <p:cNvPr id="103" name="Input penna 102">
                  <a:extLst>
                    <a:ext uri="{FF2B5EF4-FFF2-40B4-BE49-F238E27FC236}">
                      <a16:creationId xmlns:a16="http://schemas.microsoft.com/office/drawing/2014/main" id="{ACC895B8-49BC-FE93-C5C6-57906B799905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6344745" y="1933350"/>
                  <a:ext cx="485640" cy="89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2">
              <p14:nvContentPartPr>
                <p14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14:cNvPr>
                <p14:cNvContentPartPr/>
                <p14:nvPr/>
              </p14:nvContentPartPr>
              <p14:xfrm>
                <a:off x="6449505" y="2444190"/>
                <a:ext cx="423720" cy="218520"/>
              </p14:xfrm>
            </p:contentPart>
          </mc:Choice>
          <mc:Fallback xmlns="">
            <p:pic>
              <p:nvPicPr>
                <p:cNvPr id="104" name="Input penna 103">
                  <a:extLst>
                    <a:ext uri="{FF2B5EF4-FFF2-40B4-BE49-F238E27FC236}">
                      <a16:creationId xmlns:a16="http://schemas.microsoft.com/office/drawing/2014/main" id="{3DB4EEAD-AF99-7186-F069-9F501D75D1F0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6386865" y="2066190"/>
                  <a:ext cx="549360" cy="9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4">
              <p14:nvContentPartPr>
                <p14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14:cNvPr>
                <p14:cNvContentPartPr/>
                <p14:nvPr/>
              </p14:nvContentPartPr>
              <p14:xfrm>
                <a:off x="7065105" y="2985990"/>
                <a:ext cx="328680" cy="156600"/>
              </p14:xfrm>
            </p:contentPart>
          </mc:Choice>
          <mc:Fallback xmlns="">
            <p:pic>
              <p:nvPicPr>
                <p:cNvPr id="105" name="Input penna 104">
                  <a:extLst>
                    <a:ext uri="{FF2B5EF4-FFF2-40B4-BE49-F238E27FC236}">
                      <a16:creationId xmlns:a16="http://schemas.microsoft.com/office/drawing/2014/main" id="{80D3886C-5214-9626-967C-1154D732399E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7002105" y="2608350"/>
                  <a:ext cx="454320" cy="912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6">
              <p14:nvContentPartPr>
                <p14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14:cNvPr>
                <p14:cNvContentPartPr/>
                <p14:nvPr/>
              </p14:nvContentPartPr>
              <p14:xfrm>
                <a:off x="6993825" y="3233670"/>
                <a:ext cx="349200" cy="180720"/>
              </p14:xfrm>
            </p:contentPart>
          </mc:Choice>
          <mc:Fallback xmlns="">
            <p:pic>
              <p:nvPicPr>
                <p:cNvPr id="106" name="Input penna 105">
                  <a:extLst>
                    <a:ext uri="{FF2B5EF4-FFF2-40B4-BE49-F238E27FC236}">
                      <a16:creationId xmlns:a16="http://schemas.microsoft.com/office/drawing/2014/main" id="{A149890C-2D8C-EC9B-628F-A0A876CC9B1A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6931185" y="2855670"/>
                  <a:ext cx="474840" cy="93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8">
              <p14:nvContentPartPr>
                <p14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14:cNvPr>
                <p14:cNvContentPartPr/>
                <p14:nvPr/>
              </p14:nvContentPartPr>
              <p14:xfrm>
                <a:off x="6989145" y="3377670"/>
                <a:ext cx="356400" cy="173520"/>
              </p14:xfrm>
            </p:contentPart>
          </mc:Choice>
          <mc:Fallback xmlns="">
            <p:pic>
              <p:nvPicPr>
                <p:cNvPr id="107" name="Input penna 106">
                  <a:extLst>
                    <a:ext uri="{FF2B5EF4-FFF2-40B4-BE49-F238E27FC236}">
                      <a16:creationId xmlns:a16="http://schemas.microsoft.com/office/drawing/2014/main" id="{BF513AE1-0930-CF56-1A67-FD8CDE2E2745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6926145" y="3000030"/>
                  <a:ext cx="482040" cy="92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0">
              <p14:nvContentPartPr>
                <p14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14:cNvPr>
                <p14:cNvContentPartPr/>
                <p14:nvPr/>
              </p14:nvContentPartPr>
              <p14:xfrm>
                <a:off x="7250505" y="3929910"/>
                <a:ext cx="302400" cy="179640"/>
              </p14:xfrm>
            </p:contentPart>
          </mc:Choice>
          <mc:Fallback xmlns="">
            <p:pic>
              <p:nvPicPr>
                <p:cNvPr id="108" name="Input penna 107">
                  <a:extLst>
                    <a:ext uri="{FF2B5EF4-FFF2-40B4-BE49-F238E27FC236}">
                      <a16:creationId xmlns:a16="http://schemas.microsoft.com/office/drawing/2014/main" id="{9F4CE6BB-4682-7E84-E00A-BD703B673C6B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7187505" y="3552270"/>
                  <a:ext cx="428040" cy="935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2">
              <p14:nvContentPartPr>
                <p14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14:cNvPr>
                <p14:cNvContentPartPr/>
                <p14:nvPr/>
              </p14:nvContentPartPr>
              <p14:xfrm>
                <a:off x="7171305" y="4170390"/>
                <a:ext cx="387720" cy="208800"/>
              </p14:xfrm>
            </p:contentPart>
          </mc:Choice>
          <mc:Fallback xmlns="">
            <p:pic>
              <p:nvPicPr>
                <p:cNvPr id="109" name="Input penna 108">
                  <a:extLst>
                    <a:ext uri="{FF2B5EF4-FFF2-40B4-BE49-F238E27FC236}">
                      <a16:creationId xmlns:a16="http://schemas.microsoft.com/office/drawing/2014/main" id="{6E11A38B-3576-323F-45CF-DE250A84271A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7108305" y="3792390"/>
                  <a:ext cx="513360" cy="9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4">
              <p14:nvContentPartPr>
                <p14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14:cNvPr>
                <p14:cNvContentPartPr/>
                <p14:nvPr/>
              </p14:nvContentPartPr>
              <p14:xfrm>
                <a:off x="7243665" y="4375230"/>
                <a:ext cx="351360" cy="145080"/>
              </p14:xfrm>
            </p:contentPart>
          </mc:Choice>
          <mc:Fallback xmlns="">
            <p:pic>
              <p:nvPicPr>
                <p:cNvPr id="110" name="Input penna 109">
                  <a:extLst>
                    <a:ext uri="{FF2B5EF4-FFF2-40B4-BE49-F238E27FC236}">
                      <a16:creationId xmlns:a16="http://schemas.microsoft.com/office/drawing/2014/main" id="{7C953164-061D-07EF-6838-DF41D1888201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7180665" y="3997590"/>
                  <a:ext cx="477000" cy="90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6">
              <p14:nvContentPartPr>
                <p14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14:cNvPr>
                <p14:cNvContentPartPr/>
                <p14:nvPr/>
              </p14:nvContentPartPr>
              <p14:xfrm>
                <a:off x="7068705" y="2262750"/>
                <a:ext cx="169560" cy="100800"/>
              </p14:xfrm>
            </p:contentPart>
          </mc:Choice>
          <mc:Fallback xmlns="">
            <p:pic>
              <p:nvPicPr>
                <p:cNvPr id="112" name="Input penna 111">
                  <a:extLst>
                    <a:ext uri="{FF2B5EF4-FFF2-40B4-BE49-F238E27FC236}">
                      <a16:creationId xmlns:a16="http://schemas.microsoft.com/office/drawing/2014/main" id="{94FEA016-013B-9764-FEF4-C51DAD6531FC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7006065" y="1884750"/>
                  <a:ext cx="295200" cy="856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98">
            <p14:nvContentPartPr>
              <p14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14:cNvPr>
              <p14:cNvContentPartPr/>
              <p14:nvPr/>
            </p14:nvContentPartPr>
            <p14:xfrm>
              <a:off x="4920585" y="1283190"/>
              <a:ext cx="5713920" cy="878040"/>
            </p14:xfrm>
          </p:contentPart>
        </mc:Choice>
        <mc:Fallback xmlns="">
          <p:pic>
            <p:nvPicPr>
              <p:cNvPr id="114" name="Input penna 113">
                <a:extLst>
                  <a:ext uri="{FF2B5EF4-FFF2-40B4-BE49-F238E27FC236}">
                    <a16:creationId xmlns:a16="http://schemas.microsoft.com/office/drawing/2014/main" id="{99987510-9BE6-92AA-013A-C19C24A44510}"/>
                  </a:ext>
                </a:extLst>
              </p:cNvPr>
              <p:cNvPicPr/>
              <p:nvPr/>
            </p:nvPicPr>
            <p:blipFill>
              <a:blip r:embed="rId99"/>
              <a:stretch>
                <a:fillRect/>
              </a:stretch>
            </p:blipFill>
            <p:spPr>
              <a:xfrm>
                <a:off x="4857945" y="905550"/>
                <a:ext cx="5839560" cy="1633680"/>
              </a:xfrm>
              <a:prstGeom prst="rect">
                <a:avLst/>
              </a:prstGeom>
            </p:spPr>
          </p:pic>
        </mc:Fallback>
      </mc:AlternateContent>
      <p:sp>
        <p:nvSpPr>
          <p:cNvPr id="116" name="CasellaDiTesto 115">
            <a:extLst>
              <a:ext uri="{FF2B5EF4-FFF2-40B4-BE49-F238E27FC236}">
                <a16:creationId xmlns:a16="http://schemas.microsoft.com/office/drawing/2014/main" id="{D24F40DB-1A36-0078-44F6-42D7609047C0}"/>
              </a:ext>
            </a:extLst>
          </p:cNvPr>
          <p:cNvSpPr txBox="1"/>
          <p:nvPr/>
        </p:nvSpPr>
        <p:spPr>
          <a:xfrm>
            <a:off x="547500" y="1135578"/>
            <a:ext cx="2824347" cy="562846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it-IT" sz="1600" b="1" dirty="0" err="1"/>
              <a:t>Thermodynamic</a:t>
            </a:r>
            <a:r>
              <a:rPr lang="it-IT" sz="1600" b="1" dirty="0"/>
              <a:t> </a:t>
            </a:r>
            <a:r>
              <a:rPr lang="it-IT" sz="1600" b="1" dirty="0" err="1"/>
              <a:t>adjustment</a:t>
            </a:r>
            <a:r>
              <a:rPr lang="it-IT" sz="1600" b="1" dirty="0"/>
              <a:t> over </a:t>
            </a:r>
            <a:r>
              <a:rPr lang="it-IT" sz="1600" b="1" dirty="0" err="1"/>
              <a:t>daily</a:t>
            </a:r>
            <a:r>
              <a:rPr lang="it-IT" sz="1600" b="1" dirty="0"/>
              <a:t> </a:t>
            </a:r>
            <a:r>
              <a:rPr lang="it-IT" sz="1600" b="1" dirty="0" err="1"/>
              <a:t>timescales</a:t>
            </a:r>
            <a:endParaRPr lang="en-GB" sz="1600" b="1" dirty="0" err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/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noFill/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l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7" name="CasellaDiTesto 116">
                <a:extLst>
                  <a:ext uri="{FF2B5EF4-FFF2-40B4-BE49-F238E27FC236}">
                    <a16:creationId xmlns:a16="http://schemas.microsoft.com/office/drawing/2014/main" id="{D822A541-DEFF-A528-8486-6E3B3CAC5B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0244" y="4280681"/>
                <a:ext cx="977122" cy="304058"/>
              </a:xfrm>
              <a:prstGeom prst="rect">
                <a:avLst/>
              </a:prstGeom>
              <a:blipFill>
                <a:blip r:embed="rId100"/>
                <a:stretch>
                  <a:fillRect t="-29091" r="-606" b="-32727"/>
                </a:stretch>
              </a:blipFill>
              <a:ln w="28575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/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noFill/>
              <a:ln w="28575">
                <a:solidFill>
                  <a:srgbClr val="C00000"/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000" i="1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</m:oMath>
                </a14:m>
                <a:r>
                  <a:rPr lang="it-IT" sz="2000" dirty="0"/>
                  <a:t>’ &gt; 0</a:t>
                </a:r>
                <a:endParaRPr lang="en-GB" sz="2000" dirty="0" err="1"/>
              </a:p>
            </p:txBody>
          </p:sp>
        </mc:Choice>
        <mc:Fallback xmlns="">
          <p:sp>
            <p:nvSpPr>
              <p:cNvPr id="118" name="CasellaDiTesto 117">
                <a:extLst>
                  <a:ext uri="{FF2B5EF4-FFF2-40B4-BE49-F238E27FC236}">
                    <a16:creationId xmlns:a16="http://schemas.microsoft.com/office/drawing/2014/main" id="{FDCE3B53-6E8A-943F-B3D3-FE0D3BC8A6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58859" y="4390573"/>
                <a:ext cx="988344" cy="304058"/>
              </a:xfrm>
              <a:prstGeom prst="rect">
                <a:avLst/>
              </a:prstGeom>
              <a:blipFill>
                <a:blip r:embed="rId101"/>
                <a:stretch>
                  <a:fillRect t="-29091" b="-32727"/>
                </a:stretch>
              </a:blipFill>
              <a:ln w="28575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0" name="Gruppo 129">
            <a:extLst>
              <a:ext uri="{FF2B5EF4-FFF2-40B4-BE49-F238E27FC236}">
                <a16:creationId xmlns:a16="http://schemas.microsoft.com/office/drawing/2014/main" id="{98788899-6A9C-004F-23B4-02818DC27076}"/>
              </a:ext>
            </a:extLst>
          </p:cNvPr>
          <p:cNvGrpSpPr/>
          <p:nvPr/>
        </p:nvGrpSpPr>
        <p:grpSpPr>
          <a:xfrm>
            <a:off x="4869180" y="5750585"/>
            <a:ext cx="1681195" cy="303955"/>
            <a:chOff x="4869180" y="5750585"/>
            <a:chExt cx="1681195" cy="303955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2">
              <p14:nvContentPartPr>
                <p14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14:cNvPr>
                <p14:cNvContentPartPr/>
                <p14:nvPr/>
              </p14:nvContentPartPr>
              <p14:xfrm>
                <a:off x="4869180" y="5819820"/>
                <a:ext cx="168840" cy="183600"/>
              </p14:xfrm>
            </p:contentPart>
          </mc:Choice>
          <mc:Fallback xmlns="">
            <p:pic>
              <p:nvPicPr>
                <p:cNvPr id="122" name="Input penna 121">
                  <a:extLst>
                    <a:ext uri="{FF2B5EF4-FFF2-40B4-BE49-F238E27FC236}">
                      <a16:creationId xmlns:a16="http://schemas.microsoft.com/office/drawing/2014/main" id="{7DEF7DC1-31BC-4C12-D65B-A69B3DF3837C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4806180" y="5442180"/>
                  <a:ext cx="294480" cy="93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4">
              <p14:nvContentPartPr>
                <p14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14:cNvPr>
                <p14:cNvContentPartPr/>
                <p14:nvPr/>
              </p14:nvContentPartPr>
              <p14:xfrm>
                <a:off x="5086260" y="5854020"/>
                <a:ext cx="170280" cy="200520"/>
              </p14:xfrm>
            </p:contentPart>
          </mc:Choice>
          <mc:Fallback xmlns="">
            <p:pic>
              <p:nvPicPr>
                <p:cNvPr id="123" name="Input penna 122">
                  <a:extLst>
                    <a:ext uri="{FF2B5EF4-FFF2-40B4-BE49-F238E27FC236}">
                      <a16:creationId xmlns:a16="http://schemas.microsoft.com/office/drawing/2014/main" id="{7A45A4E7-9055-28EB-F3A5-56A551540030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5023260" y="5476020"/>
                  <a:ext cx="295920" cy="95616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24" name="CasellaDiTesto 123">
              <a:extLst>
                <a:ext uri="{FF2B5EF4-FFF2-40B4-BE49-F238E27FC236}">
                  <a16:creationId xmlns:a16="http://schemas.microsoft.com/office/drawing/2014/main" id="{00D89A36-14F1-9DDF-4298-FE82EE7597CD}"/>
                </a:ext>
              </a:extLst>
            </p:cNvPr>
            <p:cNvSpPr txBox="1"/>
            <p:nvPr/>
          </p:nvSpPr>
          <p:spPr>
            <a:xfrm>
              <a:off x="5317665" y="5750585"/>
              <a:ext cx="123271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temperature</a:t>
              </a:r>
              <a:endParaRPr lang="en-GB" sz="1400" dirty="0" err="1"/>
            </a:p>
          </p:txBody>
        </p:sp>
      </p:grpSp>
      <p:grpSp>
        <p:nvGrpSpPr>
          <p:cNvPr id="131" name="Gruppo 130">
            <a:extLst>
              <a:ext uri="{FF2B5EF4-FFF2-40B4-BE49-F238E27FC236}">
                <a16:creationId xmlns:a16="http://schemas.microsoft.com/office/drawing/2014/main" id="{F55B412C-C20C-C06F-38A9-8DE39F9D0E2B}"/>
              </a:ext>
            </a:extLst>
          </p:cNvPr>
          <p:cNvGrpSpPr/>
          <p:nvPr/>
        </p:nvGrpSpPr>
        <p:grpSpPr>
          <a:xfrm>
            <a:off x="4908269" y="6158766"/>
            <a:ext cx="1742460" cy="262059"/>
            <a:chOff x="4908269" y="6158766"/>
            <a:chExt cx="1742460" cy="262059"/>
          </a:xfrm>
        </p:grpSpPr>
        <p:sp>
          <p:nvSpPr>
            <p:cNvPr id="125" name="Ovale 124">
              <a:extLst>
                <a:ext uri="{FF2B5EF4-FFF2-40B4-BE49-F238E27FC236}">
                  <a16:creationId xmlns:a16="http://schemas.microsoft.com/office/drawing/2014/main" id="{573E0CC1-86CE-5F36-EAD3-D6F7BD2C9C22}"/>
                </a:ext>
              </a:extLst>
            </p:cNvPr>
            <p:cNvSpPr/>
            <p:nvPr/>
          </p:nvSpPr>
          <p:spPr>
            <a:xfrm>
              <a:off x="4908269" y="6279002"/>
              <a:ext cx="122047" cy="94617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6" name="CasellaDiTesto 125">
              <a:extLst>
                <a:ext uri="{FF2B5EF4-FFF2-40B4-BE49-F238E27FC236}">
                  <a16:creationId xmlns:a16="http://schemas.microsoft.com/office/drawing/2014/main" id="{8319CAE0-BB17-9B18-B4FF-4F0CD58E83B4}"/>
                </a:ext>
              </a:extLst>
            </p:cNvPr>
            <p:cNvSpPr txBox="1"/>
            <p:nvPr/>
          </p:nvSpPr>
          <p:spPr>
            <a:xfrm>
              <a:off x="5305809" y="6158766"/>
              <a:ext cx="134492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 err="1"/>
                <a:t>Specific</a:t>
              </a:r>
              <a:r>
                <a:rPr lang="it-IT" sz="1400" dirty="0"/>
                <a:t> </a:t>
              </a:r>
              <a:r>
                <a:rPr lang="it-IT" sz="1400" dirty="0" err="1"/>
                <a:t>humidity</a:t>
              </a:r>
              <a:endParaRPr lang="en-GB" sz="1400" dirty="0" err="1"/>
            </a:p>
          </p:txBody>
        </p:sp>
      </p:grpSp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9DFD20BA-7D7B-0614-58DE-3AAE698D1D96}"/>
              </a:ext>
            </a:extLst>
          </p:cNvPr>
          <p:cNvGrpSpPr/>
          <p:nvPr/>
        </p:nvGrpSpPr>
        <p:grpSpPr>
          <a:xfrm>
            <a:off x="6861359" y="5709367"/>
            <a:ext cx="1465564" cy="262059"/>
            <a:chOff x="6861359" y="5709367"/>
            <a:chExt cx="1465564" cy="262059"/>
          </a:xfrm>
        </p:grpSpPr>
        <p:sp>
          <p:nvSpPr>
            <p:cNvPr id="127" name="Figura a mano libera: forma 126">
              <a:extLst>
                <a:ext uri="{FF2B5EF4-FFF2-40B4-BE49-F238E27FC236}">
                  <a16:creationId xmlns:a16="http://schemas.microsoft.com/office/drawing/2014/main" id="{DA1EC094-DA02-0F0F-6909-B0C9FB779E7F}"/>
                </a:ext>
              </a:extLst>
            </p:cNvPr>
            <p:cNvSpPr/>
            <p:nvPr/>
          </p:nvSpPr>
          <p:spPr>
            <a:xfrm rot="9277550">
              <a:off x="6861359" y="5779182"/>
              <a:ext cx="237547" cy="191816"/>
            </a:xfrm>
            <a:custGeom>
              <a:avLst/>
              <a:gdLst>
                <a:gd name="connsiteX0" fmla="*/ 0 w 464171"/>
                <a:gd name="connsiteY0" fmla="*/ 363832 h 363832"/>
                <a:gd name="connsiteX1" fmla="*/ 62346 w 464171"/>
                <a:gd name="connsiteY1" fmla="*/ 114450 h 363832"/>
                <a:gd name="connsiteX2" fmla="*/ 311727 w 464171"/>
                <a:gd name="connsiteY2" fmla="*/ 150 h 363832"/>
                <a:gd name="connsiteX3" fmla="*/ 436418 w 464171"/>
                <a:gd name="connsiteY3" fmla="*/ 93669 h 363832"/>
                <a:gd name="connsiteX4" fmla="*/ 457200 w 464171"/>
                <a:gd name="connsiteY4" fmla="*/ 239141 h 363832"/>
                <a:gd name="connsiteX5" fmla="*/ 342900 w 464171"/>
                <a:gd name="connsiteY5" fmla="*/ 353441 h 363832"/>
                <a:gd name="connsiteX6" fmla="*/ 176646 w 464171"/>
                <a:gd name="connsiteY6" fmla="*/ 332659 h 363832"/>
                <a:gd name="connsiteX7" fmla="*/ 145473 w 464171"/>
                <a:gd name="connsiteY7" fmla="*/ 218359 h 363832"/>
                <a:gd name="connsiteX8" fmla="*/ 270164 w 464171"/>
                <a:gd name="connsiteY8" fmla="*/ 124841 h 363832"/>
                <a:gd name="connsiteX9" fmla="*/ 342900 w 464171"/>
                <a:gd name="connsiteY9" fmla="*/ 197578 h 363832"/>
                <a:gd name="connsiteX10" fmla="*/ 342900 w 464171"/>
                <a:gd name="connsiteY10" fmla="*/ 228750 h 363832"/>
                <a:gd name="connsiteX11" fmla="*/ 259773 w 464171"/>
                <a:gd name="connsiteY11" fmla="*/ 228750 h 363832"/>
                <a:gd name="connsiteX12" fmla="*/ 290946 w 464171"/>
                <a:gd name="connsiteY12" fmla="*/ 218359 h 363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4171" h="363832">
                  <a:moveTo>
                    <a:pt x="0" y="363832"/>
                  </a:moveTo>
                  <a:cubicBezTo>
                    <a:pt x="5196" y="269448"/>
                    <a:pt x="10392" y="175064"/>
                    <a:pt x="62346" y="114450"/>
                  </a:cubicBezTo>
                  <a:cubicBezTo>
                    <a:pt x="114300" y="53836"/>
                    <a:pt x="249382" y="3613"/>
                    <a:pt x="311727" y="150"/>
                  </a:cubicBezTo>
                  <a:cubicBezTo>
                    <a:pt x="374072" y="-3313"/>
                    <a:pt x="412172" y="53837"/>
                    <a:pt x="436418" y="93669"/>
                  </a:cubicBezTo>
                  <a:cubicBezTo>
                    <a:pt x="460664" y="133501"/>
                    <a:pt x="472786" y="195846"/>
                    <a:pt x="457200" y="239141"/>
                  </a:cubicBezTo>
                  <a:cubicBezTo>
                    <a:pt x="441614" y="282436"/>
                    <a:pt x="389659" y="337855"/>
                    <a:pt x="342900" y="353441"/>
                  </a:cubicBezTo>
                  <a:cubicBezTo>
                    <a:pt x="296141" y="369027"/>
                    <a:pt x="209550" y="355173"/>
                    <a:pt x="176646" y="332659"/>
                  </a:cubicBezTo>
                  <a:cubicBezTo>
                    <a:pt x="143742" y="310145"/>
                    <a:pt x="129887" y="252995"/>
                    <a:pt x="145473" y="218359"/>
                  </a:cubicBezTo>
                  <a:cubicBezTo>
                    <a:pt x="161059" y="183723"/>
                    <a:pt x="237260" y="128304"/>
                    <a:pt x="270164" y="124841"/>
                  </a:cubicBezTo>
                  <a:cubicBezTo>
                    <a:pt x="303068" y="121378"/>
                    <a:pt x="342900" y="197578"/>
                    <a:pt x="342900" y="197578"/>
                  </a:cubicBezTo>
                  <a:cubicBezTo>
                    <a:pt x="355023" y="214896"/>
                    <a:pt x="356755" y="223555"/>
                    <a:pt x="342900" y="228750"/>
                  </a:cubicBezTo>
                  <a:cubicBezTo>
                    <a:pt x="329045" y="233945"/>
                    <a:pt x="268432" y="230482"/>
                    <a:pt x="259773" y="228750"/>
                  </a:cubicBezTo>
                  <a:cubicBezTo>
                    <a:pt x="251114" y="227018"/>
                    <a:pt x="271030" y="222688"/>
                    <a:pt x="290946" y="218359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749"/>
            </a:p>
          </p:txBody>
        </p:sp>
        <p:sp>
          <p:nvSpPr>
            <p:cNvPr id="128" name="CasellaDiTesto 127">
              <a:extLst>
                <a:ext uri="{FF2B5EF4-FFF2-40B4-BE49-F238E27FC236}">
                  <a16:creationId xmlns:a16="http://schemas.microsoft.com/office/drawing/2014/main" id="{38AF8A2F-048F-32FE-43B5-0E331F355499}"/>
                </a:ext>
              </a:extLst>
            </p:cNvPr>
            <p:cNvSpPr txBox="1"/>
            <p:nvPr/>
          </p:nvSpPr>
          <p:spPr>
            <a:xfrm>
              <a:off x="7222453" y="5709367"/>
              <a:ext cx="1104470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it-IT" sz="1400" dirty="0"/>
                <a:t>Air </a:t>
              </a:r>
              <a:r>
                <a:rPr lang="it-IT" sz="1400" dirty="0" err="1"/>
                <a:t>turbulence</a:t>
              </a:r>
              <a:endParaRPr lang="en-GB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539815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7" presetClass="emph" presetSubtype="0" fill="remove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03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04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5" grpId="0" animBg="1"/>
      <p:bldP spid="15" grpId="1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9" grpId="0" animBg="1"/>
      <p:bldP spid="19" grpId="0" animBg="1"/>
      <p:bldP spid="32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3" grpId="0" animBg="1"/>
      <p:bldP spid="46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6" grpId="0" animBg="1"/>
      <p:bldP spid="116" grpId="0" animBg="1"/>
      <p:bldP spid="117" grpId="0" animBg="1"/>
      <p:bldP spid="1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1F383110-5EA4-4561-8064-E5387B7E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726532"/>
            <a:ext cx="10296524" cy="1404937"/>
          </a:xfrm>
        </p:spPr>
        <p:txBody>
          <a:bodyPr/>
          <a:lstStyle/>
          <a:p>
            <a:pPr algn="ctr"/>
            <a:r>
              <a:rPr lang="it-IT" dirty="0" err="1"/>
              <a:t>Now</a:t>
            </a:r>
            <a:r>
              <a:rPr lang="it-IT" dirty="0"/>
              <a:t>, with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acquired</a:t>
            </a:r>
            <a:r>
              <a:rPr lang="it-IT" dirty="0"/>
              <a:t> knowledge…</a:t>
            </a:r>
            <a:endParaRPr lang="en-GB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51B04AEE-FC3C-2F45-F0E4-3CF3ABA311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229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C034AE-2FB4-A343-4749-0D604BD20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8A1FC6D9-0772-D0A2-2CE5-9A25A11FF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208" y="1205403"/>
            <a:ext cx="4454349" cy="470010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99E408DA-8237-B15E-596B-085DE2607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689" y="1504097"/>
            <a:ext cx="4092930" cy="446501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8FCDB047-BA96-AA17-0BA1-0D0539E4B437}"/>
              </a:ext>
            </a:extLst>
          </p:cNvPr>
          <p:cNvSpPr txBox="1"/>
          <p:nvPr/>
        </p:nvSpPr>
        <p:spPr>
          <a:xfrm>
            <a:off x="333884" y="310996"/>
            <a:ext cx="827671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   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trop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precipitation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E0A576FA-71BB-AE2F-3DAC-58DA509ED144}"/>
              </a:ext>
            </a:extLst>
          </p:cNvPr>
          <p:cNvCxnSpPr>
            <a:cxnSpLocks/>
          </p:cNvCxnSpPr>
          <p:nvPr/>
        </p:nvCxnSpPr>
        <p:spPr>
          <a:xfrm>
            <a:off x="707264" y="804110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83680A4-593E-0A99-9EFB-16E56BD0FBC5}"/>
              </a:ext>
            </a:extLst>
          </p:cNvPr>
          <p:cNvSpPr txBox="1"/>
          <p:nvPr/>
        </p:nvSpPr>
        <p:spPr>
          <a:xfrm>
            <a:off x="9916998" y="5361960"/>
            <a:ext cx="1838227" cy="26205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it-IT" sz="1400" i="1" dirty="0"/>
              <a:t>Ian and Braun, 2002</a:t>
            </a:r>
            <a:endParaRPr lang="en-GB" sz="1400" i="1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1DC303BD-DC95-44AB-8C51-343E44BC9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911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104D3-1C77-423C-F28E-277700958C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77D9EFA8-EB0F-D3C6-7C83-C19C98EAC9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0" t="54014" r="23227" b="27421"/>
          <a:stretch>
            <a:fillRect/>
          </a:stretch>
        </p:blipFill>
        <p:spPr>
          <a:xfrm>
            <a:off x="3641103" y="3029993"/>
            <a:ext cx="1725104" cy="702138"/>
          </a:xfrm>
          <a:prstGeom prst="rect">
            <a:avLst/>
          </a:prstGeom>
        </p:spPr>
      </p:pic>
      <p:pic>
        <p:nvPicPr>
          <p:cNvPr id="40" name="Immagine 39" descr="Immagine che contiene schizzo, disegno, clipart, Line art&#10;&#10;Il contenuto generato dall'IA potrebbe non essere corretto.">
            <a:extLst>
              <a:ext uri="{FF2B5EF4-FFF2-40B4-BE49-F238E27FC236}">
                <a16:creationId xmlns:a16="http://schemas.microsoft.com/office/drawing/2014/main" id="{B7C817BD-7FE2-58DF-9341-3DDBD59DC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6" t="19794" r="15687" b="47743"/>
          <a:stretch>
            <a:fillRect/>
          </a:stretch>
        </p:blipFill>
        <p:spPr>
          <a:xfrm>
            <a:off x="3508125" y="711195"/>
            <a:ext cx="1975526" cy="2094457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/>
              <p:nvPr/>
            </p:nvSpPr>
            <p:spPr>
              <a:xfrm>
                <a:off x="6407296" y="2857350"/>
                <a:ext cx="5366206" cy="7625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num>
                        <m:den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𝐷𝑡</m:t>
                          </m:r>
                        </m:den>
                      </m:f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≈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𝑅𝐴𝐷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it-IT" sz="2333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333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3" b="0" i="1" smtClean="0">
                          <a:latin typeface="Cambria Math" panose="02040503050406030204" pitchFamily="18" charset="0"/>
                        </a:rPr>
                        <m:t>𝜖</m:t>
                      </m:r>
                    </m:oMath>
                  </m:oMathPara>
                </a14:m>
                <a:endParaRPr lang="it-IT" sz="2333" dirty="0"/>
              </a:p>
            </p:txBody>
          </p:sp>
        </mc:Choice>
        <mc:Fallback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23D6E6E5-A4EA-FF65-473F-D2BF1099B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7296" y="2857350"/>
                <a:ext cx="5366206" cy="76251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ttangolo 6">
            <a:extLst>
              <a:ext uri="{FF2B5EF4-FFF2-40B4-BE49-F238E27FC236}">
                <a16:creationId xmlns:a16="http://schemas.microsoft.com/office/drawing/2014/main" id="{B38465AA-B20C-B1BF-A9AD-4048ED7F105F}"/>
              </a:ext>
            </a:extLst>
          </p:cNvPr>
          <p:cNvSpPr/>
          <p:nvPr/>
        </p:nvSpPr>
        <p:spPr>
          <a:xfrm rot="10800000">
            <a:off x="486584" y="5350620"/>
            <a:ext cx="5012676" cy="36512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EB8836F-0342-35C3-0523-9932F4426CBD}"/>
              </a:ext>
            </a:extLst>
          </p:cNvPr>
          <p:cNvSpPr txBox="1"/>
          <p:nvPr/>
        </p:nvSpPr>
        <p:spPr>
          <a:xfrm>
            <a:off x="418498" y="2805652"/>
            <a:ext cx="922603" cy="44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333" dirty="0"/>
              <a:t>MABL</a:t>
            </a:r>
            <a:endParaRPr lang="en-GB" sz="1749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/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5CFBE1AE-B539-DA3D-6009-A920A9A508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614" y="4379439"/>
                <a:ext cx="606705" cy="859531"/>
              </a:xfrm>
              <a:prstGeom prst="rect">
                <a:avLst/>
              </a:prstGeom>
              <a:blipFill>
                <a:blip r:embed="rId5"/>
                <a:stretch>
                  <a:fillRect b="-14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Freccia in su 19">
            <a:extLst>
              <a:ext uri="{FF2B5EF4-FFF2-40B4-BE49-F238E27FC236}">
                <a16:creationId xmlns:a16="http://schemas.microsoft.com/office/drawing/2014/main" id="{E4741669-C7CE-C499-4037-96834924CF80}"/>
              </a:ext>
            </a:extLst>
          </p:cNvPr>
          <p:cNvSpPr/>
          <p:nvPr/>
        </p:nvSpPr>
        <p:spPr>
          <a:xfrm>
            <a:off x="1476243" y="4600402"/>
            <a:ext cx="343385" cy="750218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49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04124D-1F4E-A4D1-1971-EB7A6CC3B707}"/>
              </a:ext>
            </a:extLst>
          </p:cNvPr>
          <p:cNvSpPr txBox="1"/>
          <p:nvPr/>
        </p:nvSpPr>
        <p:spPr>
          <a:xfrm>
            <a:off x="333884" y="266103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…And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Boundary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layer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quasi-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equilibrium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B9E8E2F8-6A4A-E7C6-A858-F72F95DCF88F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Figura a mano libera: forma 21">
            <a:extLst>
              <a:ext uri="{FF2B5EF4-FFF2-40B4-BE49-F238E27FC236}">
                <a16:creationId xmlns:a16="http://schemas.microsoft.com/office/drawing/2014/main" id="{C9768F58-4C2C-E0B8-A5E8-18B115881D0C}"/>
              </a:ext>
            </a:extLst>
          </p:cNvPr>
          <p:cNvSpPr/>
          <p:nvPr/>
        </p:nvSpPr>
        <p:spPr>
          <a:xfrm>
            <a:off x="599579" y="3103968"/>
            <a:ext cx="5181670" cy="412954"/>
          </a:xfrm>
          <a:custGeom>
            <a:avLst/>
            <a:gdLst>
              <a:gd name="connsiteX0" fmla="*/ 0 w 5181670"/>
              <a:gd name="connsiteY0" fmla="*/ 412954 h 412954"/>
              <a:gd name="connsiteX1" fmla="*/ 127820 w 5181670"/>
              <a:gd name="connsiteY1" fmla="*/ 304800 h 412954"/>
              <a:gd name="connsiteX2" fmla="*/ 157317 w 5181670"/>
              <a:gd name="connsiteY2" fmla="*/ 285135 h 412954"/>
              <a:gd name="connsiteX3" fmla="*/ 285136 w 5181670"/>
              <a:gd name="connsiteY3" fmla="*/ 245806 h 412954"/>
              <a:gd name="connsiteX4" fmla="*/ 373626 w 5181670"/>
              <a:gd name="connsiteY4" fmla="*/ 216309 h 412954"/>
              <a:gd name="connsiteX5" fmla="*/ 570271 w 5181670"/>
              <a:gd name="connsiteY5" fmla="*/ 196645 h 412954"/>
              <a:gd name="connsiteX6" fmla="*/ 1150375 w 5181670"/>
              <a:gd name="connsiteY6" fmla="*/ 157316 h 412954"/>
              <a:gd name="connsiteX7" fmla="*/ 1219200 w 5181670"/>
              <a:gd name="connsiteY7" fmla="*/ 137651 h 412954"/>
              <a:gd name="connsiteX8" fmla="*/ 1278194 w 5181670"/>
              <a:gd name="connsiteY8" fmla="*/ 127819 h 412954"/>
              <a:gd name="connsiteX9" fmla="*/ 1445342 w 5181670"/>
              <a:gd name="connsiteY9" fmla="*/ 108154 h 412954"/>
              <a:gd name="connsiteX10" fmla="*/ 1828800 w 5181670"/>
              <a:gd name="connsiteY10" fmla="*/ 127819 h 412954"/>
              <a:gd name="connsiteX11" fmla="*/ 2035278 w 5181670"/>
              <a:gd name="connsiteY11" fmla="*/ 167148 h 412954"/>
              <a:gd name="connsiteX12" fmla="*/ 2143433 w 5181670"/>
              <a:gd name="connsiteY12" fmla="*/ 176980 h 412954"/>
              <a:gd name="connsiteX13" fmla="*/ 2507226 w 5181670"/>
              <a:gd name="connsiteY13" fmla="*/ 167148 h 412954"/>
              <a:gd name="connsiteX14" fmla="*/ 2635046 w 5181670"/>
              <a:gd name="connsiteY14" fmla="*/ 147483 h 412954"/>
              <a:gd name="connsiteX15" fmla="*/ 2861188 w 5181670"/>
              <a:gd name="connsiteY15" fmla="*/ 176980 h 412954"/>
              <a:gd name="connsiteX16" fmla="*/ 2998839 w 5181670"/>
              <a:gd name="connsiteY16" fmla="*/ 216309 h 412954"/>
              <a:gd name="connsiteX17" fmla="*/ 3401962 w 5181670"/>
              <a:gd name="connsiteY17" fmla="*/ 216309 h 412954"/>
              <a:gd name="connsiteX18" fmla="*/ 3500284 w 5181670"/>
              <a:gd name="connsiteY18" fmla="*/ 196645 h 412954"/>
              <a:gd name="connsiteX19" fmla="*/ 3598607 w 5181670"/>
              <a:gd name="connsiteY19" fmla="*/ 167148 h 412954"/>
              <a:gd name="connsiteX20" fmla="*/ 3706762 w 5181670"/>
              <a:gd name="connsiteY20" fmla="*/ 157316 h 412954"/>
              <a:gd name="connsiteX21" fmla="*/ 3805084 w 5181670"/>
              <a:gd name="connsiteY21" fmla="*/ 117987 h 412954"/>
              <a:gd name="connsiteX22" fmla="*/ 4011562 w 5181670"/>
              <a:gd name="connsiteY22" fmla="*/ 68825 h 412954"/>
              <a:gd name="connsiteX23" fmla="*/ 4100052 w 5181670"/>
              <a:gd name="connsiteY23" fmla="*/ 49161 h 412954"/>
              <a:gd name="connsiteX24" fmla="*/ 4345859 w 5181670"/>
              <a:gd name="connsiteY24" fmla="*/ 68825 h 412954"/>
              <a:gd name="connsiteX25" fmla="*/ 4454013 w 5181670"/>
              <a:gd name="connsiteY25" fmla="*/ 137651 h 412954"/>
              <a:gd name="connsiteX26" fmla="*/ 4621162 w 5181670"/>
              <a:gd name="connsiteY26" fmla="*/ 176980 h 412954"/>
              <a:gd name="connsiteX27" fmla="*/ 5004620 w 5181670"/>
              <a:gd name="connsiteY27" fmla="*/ 127819 h 412954"/>
              <a:gd name="connsiteX28" fmla="*/ 5112775 w 5181670"/>
              <a:gd name="connsiteY28" fmla="*/ 78658 h 412954"/>
              <a:gd name="connsiteX29" fmla="*/ 5181600 w 5181670"/>
              <a:gd name="connsiteY29" fmla="*/ 0 h 41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181670" h="412954">
                <a:moveTo>
                  <a:pt x="0" y="412954"/>
                </a:moveTo>
                <a:cubicBezTo>
                  <a:pt x="42607" y="376903"/>
                  <a:pt x="81381" y="335760"/>
                  <a:pt x="127820" y="304800"/>
                </a:cubicBezTo>
                <a:cubicBezTo>
                  <a:pt x="137652" y="298245"/>
                  <a:pt x="146559" y="290025"/>
                  <a:pt x="157317" y="285135"/>
                </a:cubicBezTo>
                <a:cubicBezTo>
                  <a:pt x="272372" y="232836"/>
                  <a:pt x="196133" y="271235"/>
                  <a:pt x="285136" y="245806"/>
                </a:cubicBezTo>
                <a:cubicBezTo>
                  <a:pt x="315032" y="237264"/>
                  <a:pt x="343462" y="223850"/>
                  <a:pt x="373626" y="216309"/>
                </a:cubicBezTo>
                <a:cubicBezTo>
                  <a:pt x="415418" y="205861"/>
                  <a:pt x="547195" y="198247"/>
                  <a:pt x="570271" y="196645"/>
                </a:cubicBezTo>
                <a:lnTo>
                  <a:pt x="1150375" y="157316"/>
                </a:lnTo>
                <a:cubicBezTo>
                  <a:pt x="1173317" y="150761"/>
                  <a:pt x="1195951" y="143016"/>
                  <a:pt x="1219200" y="137651"/>
                </a:cubicBezTo>
                <a:cubicBezTo>
                  <a:pt x="1238625" y="133168"/>
                  <a:pt x="1258490" y="130850"/>
                  <a:pt x="1278194" y="127819"/>
                </a:cubicBezTo>
                <a:cubicBezTo>
                  <a:pt x="1358922" y="115400"/>
                  <a:pt x="1353386" y="117350"/>
                  <a:pt x="1445342" y="108154"/>
                </a:cubicBezTo>
                <a:cubicBezTo>
                  <a:pt x="1516879" y="110804"/>
                  <a:pt x="1726577" y="114486"/>
                  <a:pt x="1828800" y="127819"/>
                </a:cubicBezTo>
                <a:cubicBezTo>
                  <a:pt x="2063528" y="158435"/>
                  <a:pt x="1815567" y="135761"/>
                  <a:pt x="2035278" y="167148"/>
                </a:cubicBezTo>
                <a:cubicBezTo>
                  <a:pt x="2071114" y="172268"/>
                  <a:pt x="2107381" y="173703"/>
                  <a:pt x="2143433" y="176980"/>
                </a:cubicBezTo>
                <a:cubicBezTo>
                  <a:pt x="2264697" y="173703"/>
                  <a:pt x="2386135" y="174414"/>
                  <a:pt x="2507226" y="167148"/>
                </a:cubicBezTo>
                <a:cubicBezTo>
                  <a:pt x="2550257" y="164566"/>
                  <a:pt x="2591955" y="146286"/>
                  <a:pt x="2635046" y="147483"/>
                </a:cubicBezTo>
                <a:cubicBezTo>
                  <a:pt x="2711036" y="149594"/>
                  <a:pt x="2785807" y="167148"/>
                  <a:pt x="2861188" y="176980"/>
                </a:cubicBezTo>
                <a:cubicBezTo>
                  <a:pt x="2907072" y="190090"/>
                  <a:pt x="2952208" y="206172"/>
                  <a:pt x="2998839" y="216309"/>
                </a:cubicBezTo>
                <a:cubicBezTo>
                  <a:pt x="3109220" y="240305"/>
                  <a:pt x="3348979" y="217965"/>
                  <a:pt x="3401962" y="216309"/>
                </a:cubicBezTo>
                <a:cubicBezTo>
                  <a:pt x="3434736" y="209754"/>
                  <a:pt x="3467859" y="204751"/>
                  <a:pt x="3500284" y="196645"/>
                </a:cubicBezTo>
                <a:cubicBezTo>
                  <a:pt x="3533480" y="188346"/>
                  <a:pt x="3564994" y="173550"/>
                  <a:pt x="3598607" y="167148"/>
                </a:cubicBezTo>
                <a:cubicBezTo>
                  <a:pt x="3634168" y="160375"/>
                  <a:pt x="3670710" y="160593"/>
                  <a:pt x="3706762" y="157316"/>
                </a:cubicBezTo>
                <a:cubicBezTo>
                  <a:pt x="3739536" y="144206"/>
                  <a:pt x="3771597" y="129149"/>
                  <a:pt x="3805084" y="117987"/>
                </a:cubicBezTo>
                <a:cubicBezTo>
                  <a:pt x="3889126" y="89973"/>
                  <a:pt x="3927006" y="86626"/>
                  <a:pt x="4011562" y="68825"/>
                </a:cubicBezTo>
                <a:cubicBezTo>
                  <a:pt x="4041130" y="62600"/>
                  <a:pt x="4070555" y="55716"/>
                  <a:pt x="4100052" y="49161"/>
                </a:cubicBezTo>
                <a:cubicBezTo>
                  <a:pt x="4181988" y="55716"/>
                  <a:pt x="4266116" y="48889"/>
                  <a:pt x="4345859" y="68825"/>
                </a:cubicBezTo>
                <a:cubicBezTo>
                  <a:pt x="4387315" y="79189"/>
                  <a:pt x="4414002" y="122647"/>
                  <a:pt x="4454013" y="137651"/>
                </a:cubicBezTo>
                <a:cubicBezTo>
                  <a:pt x="4560460" y="177569"/>
                  <a:pt x="4504840" y="164056"/>
                  <a:pt x="4621162" y="176980"/>
                </a:cubicBezTo>
                <a:cubicBezTo>
                  <a:pt x="4748981" y="160593"/>
                  <a:pt x="4877286" y="147627"/>
                  <a:pt x="5004620" y="127819"/>
                </a:cubicBezTo>
                <a:cubicBezTo>
                  <a:pt x="5040354" y="122260"/>
                  <a:pt x="5083998" y="100241"/>
                  <a:pt x="5112775" y="78658"/>
                </a:cubicBezTo>
                <a:cubicBezTo>
                  <a:pt x="5186577" y="23307"/>
                  <a:pt x="5181600" y="48165"/>
                  <a:pt x="5181600" y="0"/>
                </a:cubicBez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A02D727-AB43-6477-0F0C-6FD7C6981514}"/>
              </a:ext>
            </a:extLst>
          </p:cNvPr>
          <p:cNvSpPr txBox="1"/>
          <p:nvPr/>
        </p:nvSpPr>
        <p:spPr>
          <a:xfrm>
            <a:off x="1846902" y="5358073"/>
            <a:ext cx="2292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Warm </a:t>
            </a:r>
            <a:r>
              <a:rPr lang="it-IT" dirty="0" err="1"/>
              <a:t>tropical</a:t>
            </a:r>
            <a:r>
              <a:rPr lang="it-IT" dirty="0"/>
              <a:t> </a:t>
            </a:r>
            <a:r>
              <a:rPr lang="it-IT" dirty="0" err="1"/>
              <a:t>ocean</a:t>
            </a:r>
            <a:endParaRPr lang="it-IT" b="1" dirty="0"/>
          </a:p>
        </p:txBody>
      </p: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172AB2F-F8E6-160B-F684-A0420DD02EB9}"/>
              </a:ext>
            </a:extLst>
          </p:cNvPr>
          <p:cNvCxnSpPr>
            <a:cxnSpLocks/>
          </p:cNvCxnSpPr>
          <p:nvPr/>
        </p:nvCxnSpPr>
        <p:spPr>
          <a:xfrm>
            <a:off x="2121145" y="3326966"/>
            <a:ext cx="0" cy="19120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7">
            <a:extLst>
              <a:ext uri="{FF2B5EF4-FFF2-40B4-BE49-F238E27FC236}">
                <a16:creationId xmlns:a16="http://schemas.microsoft.com/office/drawing/2014/main" id="{F3F531B0-5B27-F7BF-692C-B2B49B0053CD}"/>
              </a:ext>
            </a:extLst>
          </p:cNvPr>
          <p:cNvCxnSpPr/>
          <p:nvPr/>
        </p:nvCxnSpPr>
        <p:spPr>
          <a:xfrm>
            <a:off x="1179683" y="5871595"/>
            <a:ext cx="389357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43B5787-BDDE-DA46-47F4-909793938AFB}"/>
              </a:ext>
            </a:extLst>
          </p:cNvPr>
          <p:cNvSpPr txBox="1"/>
          <p:nvPr/>
        </p:nvSpPr>
        <p:spPr>
          <a:xfrm>
            <a:off x="2405137" y="596475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/>
              <a:t>h</a:t>
            </a:r>
          </a:p>
        </p:txBody>
      </p:sp>
      <p:sp>
        <p:nvSpPr>
          <p:cNvPr id="34" name="Freccia in su 33">
            <a:extLst>
              <a:ext uri="{FF2B5EF4-FFF2-40B4-BE49-F238E27FC236}">
                <a16:creationId xmlns:a16="http://schemas.microsoft.com/office/drawing/2014/main" id="{E0148539-CBD3-28A6-FCDA-5BD38AB7A391}"/>
              </a:ext>
            </a:extLst>
          </p:cNvPr>
          <p:cNvSpPr/>
          <p:nvPr/>
        </p:nvSpPr>
        <p:spPr>
          <a:xfrm>
            <a:off x="4087850" y="3316067"/>
            <a:ext cx="816077" cy="73047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Freccia circolare a destra 36">
            <a:extLst>
              <a:ext uri="{FF2B5EF4-FFF2-40B4-BE49-F238E27FC236}">
                <a16:creationId xmlns:a16="http://schemas.microsoft.com/office/drawing/2014/main" id="{ACA9F5B4-8E13-D1DE-5D60-18FA4529C4A0}"/>
              </a:ext>
            </a:extLst>
          </p:cNvPr>
          <p:cNvSpPr/>
          <p:nvPr/>
        </p:nvSpPr>
        <p:spPr>
          <a:xfrm rot="5400000">
            <a:off x="2601947" y="1904270"/>
            <a:ext cx="398122" cy="592564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8" name="Freccia circolare in giù 37">
            <a:extLst>
              <a:ext uri="{FF2B5EF4-FFF2-40B4-BE49-F238E27FC236}">
                <a16:creationId xmlns:a16="http://schemas.microsoft.com/office/drawing/2014/main" id="{6851794F-C9B2-5BC5-3244-738BCFCA544E}"/>
              </a:ext>
            </a:extLst>
          </p:cNvPr>
          <p:cNvSpPr/>
          <p:nvPr/>
        </p:nvSpPr>
        <p:spPr>
          <a:xfrm>
            <a:off x="5687961" y="2200552"/>
            <a:ext cx="816077" cy="412954"/>
          </a:xfrm>
          <a:prstGeom prst="curved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51477FEF-90FF-21A2-E005-3F29B33EB603}"/>
              </a:ext>
            </a:extLst>
          </p:cNvPr>
          <p:cNvCxnSpPr/>
          <p:nvPr/>
        </p:nvCxnSpPr>
        <p:spPr>
          <a:xfrm>
            <a:off x="2121145" y="941652"/>
            <a:ext cx="0" cy="19762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18AB247-4B60-99FF-070B-AE0DB874BF4D}"/>
              </a:ext>
            </a:extLst>
          </p:cNvPr>
          <p:cNvSpPr txBox="1"/>
          <p:nvPr/>
        </p:nvSpPr>
        <p:spPr>
          <a:xfrm>
            <a:off x="7332911" y="4357308"/>
            <a:ext cx="393849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Study area: Warm Pool </a:t>
            </a:r>
            <a:r>
              <a:rPr lang="it-IT" sz="1600" dirty="0" err="1"/>
              <a:t>region</a:t>
            </a:r>
            <a:r>
              <a:rPr lang="it-IT" sz="1600" dirty="0"/>
              <a:t>               i.e. </a:t>
            </a:r>
            <a:r>
              <a:rPr lang="it-IT" sz="1600" b="1" dirty="0"/>
              <a:t>high SST, light </a:t>
            </a:r>
            <a:r>
              <a:rPr lang="it-IT" sz="1600" b="1" dirty="0" err="1"/>
              <a:t>winds</a:t>
            </a:r>
            <a:r>
              <a:rPr lang="it-IT" sz="1600" b="1" dirty="0"/>
              <a:t> </a:t>
            </a:r>
            <a:r>
              <a:rPr lang="it-IT" sz="1600" dirty="0"/>
              <a:t>,                </a:t>
            </a:r>
            <a:r>
              <a:rPr lang="it-IT" sz="1600" b="1" dirty="0"/>
              <a:t>low SST </a:t>
            </a:r>
            <a:r>
              <a:rPr lang="it-IT" sz="1600" b="1" dirty="0" err="1"/>
              <a:t>gradients</a:t>
            </a:r>
            <a:endParaRPr lang="it-IT" sz="1600" dirty="0"/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18181307-52DF-AC1B-3B8B-574FAFF4D133}"/>
              </a:ext>
            </a:extLst>
          </p:cNvPr>
          <p:cNvSpPr txBox="1"/>
          <p:nvPr/>
        </p:nvSpPr>
        <p:spPr>
          <a:xfrm>
            <a:off x="7332911" y="1753360"/>
            <a:ext cx="4220800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Cycle</a:t>
            </a:r>
            <a:r>
              <a:rPr lang="it-IT" sz="1600" dirty="0"/>
              <a:t> happening </a:t>
            </a:r>
            <a:r>
              <a:rPr lang="it-IT" sz="1600" dirty="0" err="1"/>
              <a:t>typically</a:t>
            </a:r>
            <a:r>
              <a:rPr lang="it-IT" sz="1600" dirty="0"/>
              <a:t> over 0.5 days</a:t>
            </a:r>
            <a:r>
              <a:rPr lang="en-GB" sz="1600" dirty="0"/>
              <a:t> </a:t>
            </a:r>
            <a:r>
              <a:rPr lang="en-GB" sz="1400" i="1" dirty="0"/>
              <a:t>(Raymond 1994, Emmanuel 1995)</a:t>
            </a:r>
            <a:endParaRPr lang="it-IT" sz="1600" i="1" dirty="0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8AF0172-8ADE-A690-90B8-F1F588A93A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asellaDiTesto 2">
                <a:extLst>
                  <a:ext uri="{FF2B5EF4-FFF2-40B4-BE49-F238E27FC236}">
                    <a16:creationId xmlns:a16="http://schemas.microsoft.com/office/drawing/2014/main" id="{E59393DC-2B35-45F3-F846-43B98683F02B}"/>
                  </a:ext>
                </a:extLst>
              </p:cNvPr>
              <p:cNvSpPr txBox="1"/>
              <p:nvPr/>
            </p:nvSpPr>
            <p:spPr>
              <a:xfrm>
                <a:off x="10847444" y="3146633"/>
                <a:ext cx="478144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33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it-IT" sz="233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n-GB" sz="2330" dirty="0" err="1"/>
              </a:p>
            </p:txBody>
          </p:sp>
        </mc:Choice>
        <mc:Fallback>
          <p:sp>
            <p:nvSpPr>
              <p:cNvPr id="3" name="CasellaDiTesto 2">
                <a:extLst>
                  <a:ext uri="{FF2B5EF4-FFF2-40B4-BE49-F238E27FC236}">
                    <a16:creationId xmlns:a16="http://schemas.microsoft.com/office/drawing/2014/main" id="{E59393DC-2B35-45F3-F846-43B98683F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47444" y="3146633"/>
                <a:ext cx="478144" cy="294953"/>
              </a:xfrm>
              <a:prstGeom prst="rect">
                <a:avLst/>
              </a:prstGeom>
              <a:blipFill>
                <a:blip r:embed="rId6"/>
                <a:stretch>
                  <a:fillRect l="-11392" t="-12245" r="-11392" b="-1224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347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2.96296E-6 L 0.19336 0.0044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661" y="20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2.22222E-6 L 0.15026 2.22222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0 L 0.19479 0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4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479 0 L 0.0681 0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41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336 0.0044 L 0.07461 0.0044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allAtOnce"/>
      <p:bldP spid="29" grpId="0"/>
      <p:bldP spid="29" grpId="1"/>
      <p:bldP spid="34" grpId="0" animBg="1"/>
      <p:bldP spid="34" grpId="1" animBg="1"/>
      <p:bldP spid="37" grpId="0" animBg="1"/>
      <p:bldP spid="38" grpId="0" animBg="1"/>
      <p:bldP spid="11" grpId="0"/>
      <p:bldP spid="61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5B43C-994A-C512-C1FA-5E30FF572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8237DEBB-336F-27EE-A37E-391065E53644}"/>
              </a:ext>
            </a:extLst>
          </p:cNvPr>
          <p:cNvSpPr txBox="1"/>
          <p:nvPr/>
        </p:nvSpPr>
        <p:spPr>
          <a:xfrm>
            <a:off x="415033" y="312548"/>
            <a:ext cx="911177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defRPr/>
            </a:pP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What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to do? –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Initi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</a:t>
            </a:r>
            <a:r>
              <a:rPr lang="it-IT" sz="2800" b="1" kern="600" cap="all" spc="140" dirty="0" err="1">
                <a:solidFill>
                  <a:srgbClr val="005555"/>
                </a:solidFill>
                <a:latin typeface="Arial" panose="020B0604020202020204"/>
              </a:rPr>
              <a:t>numerical</a:t>
            </a:r>
            <a:r>
              <a:rPr lang="it-IT" sz="2800" b="1" kern="600" cap="all" spc="140" dirty="0">
                <a:solidFill>
                  <a:srgbClr val="005555"/>
                </a:solidFill>
                <a:latin typeface="Arial" panose="020B0604020202020204"/>
              </a:rPr>
              <a:t> study</a:t>
            </a:r>
            <a:endParaRPr lang="en-GB" sz="2800" b="1" kern="600" cap="all" spc="140" dirty="0">
              <a:solidFill>
                <a:srgbClr val="005555"/>
              </a:solidFill>
              <a:latin typeface="Arial" panose="020B0604020202020204"/>
            </a:endParaRP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0E75AD57-E981-FB88-D644-DDBF20B09FC7}"/>
              </a:ext>
            </a:extLst>
          </p:cNvPr>
          <p:cNvCxnSpPr>
            <a:cxnSpLocks/>
          </p:cNvCxnSpPr>
          <p:nvPr/>
        </p:nvCxnSpPr>
        <p:spPr>
          <a:xfrm>
            <a:off x="707264" y="759217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4DD861F0-02BC-187E-0F86-18BADB505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93" t="16134" r="22092" b="23649"/>
          <a:stretch>
            <a:fillRect/>
          </a:stretch>
        </p:blipFill>
        <p:spPr>
          <a:xfrm>
            <a:off x="6096000" y="1317572"/>
            <a:ext cx="5244445" cy="388349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BCF08A6C-A169-C784-1D6B-E35B3F25C183}"/>
              </a:ext>
            </a:extLst>
          </p:cNvPr>
          <p:cNvSpPr txBox="1"/>
          <p:nvPr/>
        </p:nvSpPr>
        <p:spPr>
          <a:xfrm>
            <a:off x="650702" y="940239"/>
            <a:ext cx="3378960" cy="8577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MSE budget </a:t>
            </a:r>
            <a:r>
              <a:rPr lang="it-IT" sz="1600" dirty="0" err="1"/>
              <a:t>analysis</a:t>
            </a:r>
            <a:r>
              <a:rPr lang="it-IT" sz="1600" dirty="0"/>
              <a:t> over                      </a:t>
            </a:r>
            <a:r>
              <a:rPr lang="it-IT" sz="1600" dirty="0" err="1"/>
              <a:t>longer-than-convective</a:t>
            </a:r>
            <a:r>
              <a:rPr lang="it-IT" sz="1600" dirty="0"/>
              <a:t> </a:t>
            </a:r>
            <a:r>
              <a:rPr lang="it-IT" sz="1600" dirty="0" err="1"/>
              <a:t>timescales</a:t>
            </a:r>
            <a:r>
              <a:rPr lang="it-IT" sz="1600" dirty="0"/>
              <a:t> (steady state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/>
              <p:nvPr/>
            </p:nvSpPr>
            <p:spPr>
              <a:xfrm>
                <a:off x="794994" y="1818027"/>
                <a:ext cx="5366206" cy="4792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sz="2333" b="0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𝜖</m:t>
                    </m:r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≈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</m:sSub>
                    <m:r>
                      <a:rPr lang="it-IT" sz="2333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it-IT" sz="2333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it-IT" sz="2333" b="0" i="1" smtClean="0">
                            <a:latin typeface="Cambria Math" panose="02040503050406030204" pitchFamily="18" charset="0"/>
                          </a:rPr>
                          <m:t>𝑅𝐴𝐷</m:t>
                        </m:r>
                      </m:sub>
                    </m:sSub>
                  </m:oMath>
                </a14:m>
                <a:endParaRPr lang="it-IT" sz="2333" dirty="0"/>
              </a:p>
            </p:txBody>
          </p:sp>
        </mc:Choice>
        <mc:Fallback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C8F30546-CDE9-CBEE-95C6-97627CF1E2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994" y="1818027"/>
                <a:ext cx="5366206" cy="479298"/>
              </a:xfrm>
              <a:prstGeom prst="rect">
                <a:avLst/>
              </a:prstGeom>
              <a:blipFill>
                <a:blip r:embed="rId3"/>
                <a:stretch>
                  <a:fillRect l="-1703" t="-12658" b="-2025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5A1D501-02AD-FCC3-21E0-1509B2D64F0F}"/>
              </a:ext>
            </a:extLst>
          </p:cNvPr>
          <p:cNvSpPr txBox="1"/>
          <p:nvPr/>
        </p:nvSpPr>
        <p:spPr>
          <a:xfrm>
            <a:off x="650702" y="2666895"/>
            <a:ext cx="4392637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Assess</a:t>
            </a:r>
            <a:r>
              <a:rPr lang="it-IT" sz="1600" dirty="0"/>
              <a:t> the full time-</a:t>
            </a:r>
            <a:r>
              <a:rPr lang="it-IT" sz="1600" dirty="0" err="1"/>
              <a:t>dependent</a:t>
            </a:r>
            <a:r>
              <a:rPr lang="it-IT" sz="1600" dirty="0"/>
              <a:t>             </a:t>
            </a:r>
            <a:r>
              <a:rPr lang="it-IT" sz="1600" dirty="0" err="1"/>
              <a:t>evolution</a:t>
            </a:r>
            <a:r>
              <a:rPr lang="it-IT" sz="1600" dirty="0"/>
              <a:t> of MSE to </a:t>
            </a:r>
            <a:r>
              <a:rPr lang="it-IT" sz="1600" dirty="0" err="1"/>
              <a:t>characterize</a:t>
            </a:r>
            <a:r>
              <a:rPr lang="it-IT" sz="1600" dirty="0"/>
              <a:t>:      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BB5570E-BA55-715C-4085-EDBF73084E08}"/>
                  </a:ext>
                </a:extLst>
              </p:cNvPr>
              <p:cNvSpPr txBox="1"/>
              <p:nvPr/>
            </p:nvSpPr>
            <p:spPr>
              <a:xfrm>
                <a:off x="982211" y="3535088"/>
                <a:ext cx="5057228" cy="16017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L="342900" indent="-342900" algn="l">
                  <a:lnSpc>
                    <a:spcPts val="2300"/>
                  </a:lnSpc>
                  <a:spcBef>
                    <a:spcPts val="1150"/>
                  </a:spcBef>
                  <a:buFont typeface="+mj-lt"/>
                  <a:buAutoNum type="arabicPeriod"/>
                </a:pPr>
                <a:r>
                  <a:rPr lang="it-IT" sz="1600" dirty="0"/>
                  <a:t>Comparison </a:t>
                </a:r>
                <a:r>
                  <a:rPr lang="it-IT" sz="1600" dirty="0" err="1"/>
                  <a:t>between</a:t>
                </a:r>
                <a:r>
                  <a:rPr lang="it-IT" sz="1600" dirty="0"/>
                  <a:t> </a:t>
                </a:r>
                <a:r>
                  <a:rPr lang="it-IT" sz="1600" dirty="0" err="1"/>
                  <a:t>precipitating</a:t>
                </a:r>
                <a:r>
                  <a:rPr lang="it-IT" sz="1600" dirty="0"/>
                  <a:t> and                non-</a:t>
                </a:r>
                <a:r>
                  <a:rPr lang="it-IT" sz="1600" dirty="0" err="1"/>
                  <a:t>precipitating</a:t>
                </a:r>
                <a:r>
                  <a:rPr lang="it-IT" sz="1600" dirty="0"/>
                  <a:t> </a:t>
                </a:r>
                <a:r>
                  <a:rPr lang="it-IT" sz="1600" dirty="0" err="1"/>
                  <a:t>regions</a:t>
                </a:r>
                <a:r>
                  <a:rPr lang="it-IT" sz="1600" dirty="0"/>
                  <a:t>                                                </a:t>
                </a:r>
                <a:r>
                  <a:rPr lang="it-IT" sz="1600" dirty="0">
                    <a:sym typeface="Wingdings" panose="05000000000000000000" pitchFamily="2" charset="2"/>
                  </a:rPr>
                  <a:t> </a:t>
                </a:r>
                <a:r>
                  <a:rPr lang="it-IT" sz="1600" dirty="0" err="1">
                    <a:sym typeface="Wingdings" panose="05000000000000000000" pitchFamily="2" charset="2"/>
                  </a:rPr>
                  <a:t>when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is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convection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exactly</a:t>
                </a:r>
                <a:r>
                  <a:rPr lang="it-IT" sz="1600" dirty="0">
                    <a:sym typeface="Wingdings" panose="05000000000000000000" pitchFamily="2" charset="2"/>
                  </a:rPr>
                  <a:t> </a:t>
                </a:r>
                <a:r>
                  <a:rPr lang="it-IT" sz="1600" dirty="0" err="1">
                    <a:sym typeface="Wingdings" panose="05000000000000000000" pitchFamily="2" charset="2"/>
                  </a:rPr>
                  <a:t>triggered</a:t>
                </a:r>
                <a:r>
                  <a:rPr lang="it-IT" sz="1600" dirty="0">
                    <a:sym typeface="Wingdings" panose="05000000000000000000" pitchFamily="2" charset="2"/>
                  </a:rPr>
                  <a:t>?</a:t>
                </a:r>
              </a:p>
              <a:p>
                <a:pPr marL="342900" indent="-342900">
                  <a:lnSpc>
                    <a:spcPts val="2300"/>
                  </a:lnSpc>
                  <a:spcBef>
                    <a:spcPts val="1150"/>
                  </a:spcBef>
                  <a:buFont typeface="+mj-lt"/>
                  <a:buAutoNum type="arabicPeriod"/>
                </a:pPr>
                <a:r>
                  <a:rPr lang="it-IT" sz="1600" dirty="0" err="1"/>
                  <a:t>Role</a:t>
                </a:r>
                <a:r>
                  <a:rPr lang="it-IT" sz="1600" dirty="0"/>
                  <a:t> of </a:t>
                </a:r>
                <a:r>
                  <a:rPr lang="it-IT" sz="1600" dirty="0" err="1"/>
                  <a:t>downdrafts</a:t>
                </a:r>
                <a:r>
                  <a:rPr lang="it-IT" sz="1600" dirty="0"/>
                  <a:t> </a:t>
                </a:r>
                <a14:m>
                  <m:oMath xmlns:m="http://schemas.openxmlformats.org/officeDocument/2006/math">
                    <m:r>
                      <a:rPr lang="it-IT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it-IT" sz="1600" dirty="0"/>
                  <a:t> and </a:t>
                </a:r>
                <a:r>
                  <a:rPr lang="it-IT" sz="1600" dirty="0" err="1"/>
                  <a:t>related</a:t>
                </a:r>
                <a:r>
                  <a:rPr lang="it-IT" sz="1600" dirty="0"/>
                  <a:t> </a:t>
                </a:r>
                <a:r>
                  <a:rPr lang="it-IT" sz="1600" dirty="0" err="1"/>
                  <a:t>gustiness</a:t>
                </a:r>
                <a:r>
                  <a:rPr lang="it-IT" sz="1600" dirty="0"/>
                  <a:t>                                                </a:t>
                </a:r>
                <a:r>
                  <a:rPr lang="it-IT" sz="1600" dirty="0">
                    <a:sym typeface="Wingdings" panose="05000000000000000000" pitchFamily="2" charset="2"/>
                  </a:rPr>
                  <a:t></a:t>
                </a:r>
                <a:r>
                  <a:rPr lang="it-IT" sz="1600" dirty="0"/>
                  <a:t> interaction of </a:t>
                </a:r>
                <a:r>
                  <a:rPr lang="it-IT" sz="1600" dirty="0" err="1"/>
                  <a:t>different</a:t>
                </a:r>
                <a:r>
                  <a:rPr lang="it-IT" sz="1600" dirty="0"/>
                  <a:t> </a:t>
                </a:r>
                <a:r>
                  <a:rPr lang="it-IT" sz="1600" dirty="0" err="1"/>
                  <a:t>scales</a:t>
                </a:r>
                <a:r>
                  <a:rPr lang="it-IT" sz="1600" dirty="0"/>
                  <a:t> of </a:t>
                </a:r>
                <a:r>
                  <a:rPr lang="it-IT" sz="1600" dirty="0" err="1"/>
                  <a:t>variability</a:t>
                </a:r>
                <a:endParaRPr lang="it-IT" sz="1600" dirty="0"/>
              </a:p>
            </p:txBody>
          </p:sp>
        </mc:Choice>
        <mc:Fallback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5BB5570E-BA55-715C-4085-EDBF73084E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2211" y="3535088"/>
                <a:ext cx="5057228" cy="1601721"/>
              </a:xfrm>
              <a:prstGeom prst="rect">
                <a:avLst/>
              </a:prstGeom>
              <a:blipFill>
                <a:blip r:embed="rId4"/>
                <a:stretch>
                  <a:fillRect l="-2289" t="-2662" b="-684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89AD16E-734D-81C3-76AA-012F2762AF60}"/>
              </a:ext>
            </a:extLst>
          </p:cNvPr>
          <p:cNvSpPr txBox="1"/>
          <p:nvPr/>
        </p:nvSpPr>
        <p:spPr>
          <a:xfrm>
            <a:off x="650702" y="5513575"/>
            <a:ext cx="3600785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 err="1"/>
              <a:t>Suitable</a:t>
            </a:r>
            <a:r>
              <a:rPr lang="it-IT" sz="1600" dirty="0"/>
              <a:t> </a:t>
            </a:r>
            <a:r>
              <a:rPr lang="it-IT" sz="1600" dirty="0" err="1"/>
              <a:t>definition</a:t>
            </a:r>
            <a:r>
              <a:rPr lang="it-IT" sz="1600" dirty="0"/>
              <a:t> of </a:t>
            </a:r>
            <a:r>
              <a:rPr lang="it-IT" sz="1600" dirty="0" err="1"/>
              <a:t>boundary</a:t>
            </a:r>
            <a:r>
              <a:rPr lang="it-IT" sz="1600" dirty="0"/>
              <a:t> </a:t>
            </a:r>
            <a:r>
              <a:rPr lang="it-IT" sz="1600" dirty="0" err="1"/>
              <a:t>layer</a:t>
            </a:r>
            <a:r>
              <a:rPr lang="it-IT" sz="1600" dirty="0"/>
              <a:t>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dirty="0" err="1">
                <a:sym typeface="Wingdings" panose="05000000000000000000" pitchFamily="2" charset="2"/>
              </a:rPr>
              <a:t>there</a:t>
            </a:r>
            <a:r>
              <a:rPr lang="it-IT" sz="1600" dirty="0">
                <a:sym typeface="Wingdings" panose="05000000000000000000" pitchFamily="2" charset="2"/>
              </a:rPr>
              <a:t> are </a:t>
            </a:r>
            <a:r>
              <a:rPr lang="it-IT" sz="1600" dirty="0" err="1">
                <a:sym typeface="Wingdings" panose="05000000000000000000" pitchFamily="2" charset="2"/>
              </a:rPr>
              <a:t>many</a:t>
            </a:r>
            <a:r>
              <a:rPr lang="it-IT" sz="1600" dirty="0">
                <a:sym typeface="Wingdings" panose="05000000000000000000" pitchFamily="2" charset="2"/>
              </a:rPr>
              <a:t>!</a:t>
            </a:r>
            <a:endParaRPr lang="en-GB" sz="1600" dirty="0" err="1"/>
          </a:p>
        </p:txBody>
      </p:sp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A3F3D2B6-BC9B-D4C5-929E-4FEB911AD0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1519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BFD72-30E3-B329-237E-395254BC4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0FF427A-78BD-FAC9-78D9-C91E60E00F37}"/>
              </a:ext>
            </a:extLst>
          </p:cNvPr>
          <p:cNvSpPr txBox="1"/>
          <p:nvPr/>
        </p:nvSpPr>
        <p:spPr>
          <a:xfrm>
            <a:off x="1964288" y="1508945"/>
            <a:ext cx="729465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BSc</a:t>
            </a:r>
            <a:r>
              <a:rPr lang="it-IT" b="1" dirty="0"/>
              <a:t>. in </a:t>
            </a:r>
            <a:r>
              <a:rPr lang="it-IT" b="1" dirty="0" err="1"/>
              <a:t>Physics</a:t>
            </a:r>
            <a:r>
              <a:rPr lang="it-IT" b="1" dirty="0"/>
              <a:t> </a:t>
            </a:r>
          </a:p>
          <a:p>
            <a:r>
              <a:rPr lang="it-IT" sz="1600" b="1" dirty="0"/>
              <a:t>University of Milan</a:t>
            </a:r>
            <a:endParaRPr lang="it-IT" sz="1200" b="1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D7DCAFF-848A-AEB6-8961-DC757B6D9D14}"/>
              </a:ext>
            </a:extLst>
          </p:cNvPr>
          <p:cNvSpPr txBox="1"/>
          <p:nvPr/>
        </p:nvSpPr>
        <p:spPr>
          <a:xfrm>
            <a:off x="1986017" y="2579455"/>
            <a:ext cx="78550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MSc</a:t>
            </a:r>
            <a:r>
              <a:rPr lang="it-IT" b="1" dirty="0"/>
              <a:t>. in </a:t>
            </a:r>
            <a:r>
              <a:rPr lang="it-IT" b="1" dirty="0" err="1"/>
              <a:t>Environmental</a:t>
            </a:r>
            <a:r>
              <a:rPr lang="it-IT" b="1" dirty="0"/>
              <a:t> </a:t>
            </a:r>
            <a:r>
              <a:rPr lang="it-IT" b="1" dirty="0" err="1"/>
              <a:t>Meteorology</a:t>
            </a:r>
            <a:r>
              <a:rPr lang="it-IT" sz="1400" dirty="0"/>
              <a:t>    </a:t>
            </a:r>
          </a:p>
          <a:p>
            <a:r>
              <a:rPr lang="it-IT" sz="1600" b="1" dirty="0"/>
              <a:t>University of Trento - University of Innsbruck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4F63C0-8E77-45D9-D03B-6EAD2BF781A9}"/>
              </a:ext>
            </a:extLst>
          </p:cNvPr>
          <p:cNvSpPr txBox="1"/>
          <p:nvPr/>
        </p:nvSpPr>
        <p:spPr>
          <a:xfrm>
            <a:off x="1982916" y="3378068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Junior </a:t>
            </a:r>
            <a:r>
              <a:rPr lang="it-IT" b="1" dirty="0" err="1"/>
              <a:t>research</a:t>
            </a:r>
            <a:r>
              <a:rPr lang="it-IT" b="1" dirty="0"/>
              <a:t> </a:t>
            </a:r>
            <a:r>
              <a:rPr lang="it-IT" b="1" dirty="0" err="1"/>
              <a:t>assistant</a:t>
            </a:r>
            <a:r>
              <a:rPr lang="it-IT" b="1" dirty="0"/>
              <a:t>  </a:t>
            </a:r>
          </a:p>
          <a:p>
            <a:r>
              <a:rPr lang="en-US" sz="1600" b="1" dirty="0"/>
              <a:t>University of Milan Bicocca – </a:t>
            </a:r>
            <a:r>
              <a:rPr lang="en-US" sz="1600" b="1" i="1" dirty="0"/>
              <a:t>sup. Prof. Claudia </a:t>
            </a:r>
            <a:r>
              <a:rPr lang="en-US" sz="1600" b="1" i="1" dirty="0" err="1"/>
              <a:t>Pasquero</a:t>
            </a:r>
            <a:endParaRPr lang="en-US" b="1" i="1" dirty="0"/>
          </a:p>
          <a:p>
            <a:r>
              <a:rPr lang="en-US" sz="1400" dirty="0">
                <a:sym typeface="Wingdings" panose="05000000000000000000" pitchFamily="2" charset="2"/>
              </a:rPr>
              <a:t>One</a:t>
            </a:r>
            <a:r>
              <a:rPr lang="en-US" sz="1400" i="1" dirty="0">
                <a:sym typeface="Wingdings" panose="05000000000000000000" pitchFamily="2" charset="2"/>
              </a:rPr>
              <a:t> proceeding </a:t>
            </a:r>
            <a:r>
              <a:rPr lang="en-US" sz="1400" dirty="0">
                <a:sym typeface="Wingdings" panose="05000000000000000000" pitchFamily="2" charset="2"/>
              </a:rPr>
              <a:t>(accepted, ASR) and one full article (under rev., QJRMS)</a:t>
            </a:r>
          </a:p>
        </p:txBody>
      </p:sp>
      <p:pic>
        <p:nvPicPr>
          <p:cNvPr id="15" name="Immagine 14" descr="Immagine che contiene aria aperta, vestiti, persona, cielo&#10;&#10;Il contenuto generato dall'IA potrebbe non essere corretto.">
            <a:extLst>
              <a:ext uri="{FF2B5EF4-FFF2-40B4-BE49-F238E27FC236}">
                <a16:creationId xmlns:a16="http://schemas.microsoft.com/office/drawing/2014/main" id="{A6835879-7FE9-EBC2-2B1F-1649BF982A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3782" b="10263"/>
          <a:stretch/>
        </p:blipFill>
        <p:spPr>
          <a:xfrm>
            <a:off x="8550798" y="1265170"/>
            <a:ext cx="2807012" cy="4320590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247D84A-A072-9D28-A789-A08B2008D504}"/>
              </a:ext>
            </a:extLst>
          </p:cNvPr>
          <p:cNvCxnSpPr>
            <a:cxnSpLocks/>
          </p:cNvCxnSpPr>
          <p:nvPr/>
        </p:nvCxnSpPr>
        <p:spPr>
          <a:xfrm>
            <a:off x="831089" y="683605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03779DF-B28B-7559-E243-729050AE2584}"/>
              </a:ext>
            </a:extLst>
          </p:cNvPr>
          <p:cNvSpPr txBox="1"/>
          <p:nvPr/>
        </p:nvSpPr>
        <p:spPr>
          <a:xfrm>
            <a:off x="1964288" y="4857496"/>
            <a:ext cx="110344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PhD candidate</a:t>
            </a:r>
          </a:p>
          <a:p>
            <a:r>
              <a:rPr lang="de-DE" sz="1600" b="1" dirty="0" err="1"/>
              <a:t>Scale</a:t>
            </a:r>
            <a:r>
              <a:rPr lang="de-DE" sz="1600" b="1" dirty="0"/>
              <a:t> Interaction Modelling </a:t>
            </a:r>
            <a:r>
              <a:rPr lang="de-DE" sz="1600" b="1" dirty="0" err="1"/>
              <a:t>group</a:t>
            </a:r>
            <a:r>
              <a:rPr lang="de-DE" sz="1600" b="1" dirty="0"/>
              <a:t> – </a:t>
            </a:r>
            <a:r>
              <a:rPr lang="de-DE" sz="1600" b="1" i="1" dirty="0" err="1"/>
              <a:t>sup</a:t>
            </a:r>
            <a:r>
              <a:rPr lang="de-DE" sz="1600" b="1" i="1" dirty="0"/>
              <a:t>. Dr. Hans Segura</a:t>
            </a:r>
          </a:p>
          <a:p>
            <a:r>
              <a:rPr lang="de-DE" sz="1600" b="1" i="1" dirty="0"/>
              <a:t>                                                             prof. Juan Pedro </a:t>
            </a:r>
            <a:r>
              <a:rPr lang="de-DE" sz="1600" b="1" i="1" dirty="0" err="1"/>
              <a:t>Mellado</a:t>
            </a:r>
            <a:endParaRPr lang="en-US" sz="1600" b="1" dirty="0"/>
          </a:p>
        </p:txBody>
      </p:sp>
      <p:sp>
        <p:nvSpPr>
          <p:cNvPr id="18" name="Titolo 5">
            <a:extLst>
              <a:ext uri="{FF2B5EF4-FFF2-40B4-BE49-F238E27FC236}">
                <a16:creationId xmlns:a16="http://schemas.microsoft.com/office/drawing/2014/main" id="{6D80499C-91E8-2A4A-1025-ED417EFC3A4B}"/>
              </a:ext>
            </a:extLst>
          </p:cNvPr>
          <p:cNvSpPr txBox="1">
            <a:spLocks/>
          </p:cNvSpPr>
          <p:nvPr/>
        </p:nvSpPr>
        <p:spPr>
          <a:xfrm>
            <a:off x="490539" y="255375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cademic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formatio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nd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urrent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activity</a:t>
            </a:r>
            <a:endParaRPr kumimoji="0" lang="en-GB" sz="23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8744E00-E198-B01E-8240-6739C7BA68DB}"/>
              </a:ext>
            </a:extLst>
          </p:cNvPr>
          <p:cNvCxnSpPr/>
          <p:nvPr/>
        </p:nvCxnSpPr>
        <p:spPr>
          <a:xfrm>
            <a:off x="831089" y="887445"/>
            <a:ext cx="0" cy="4881754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94813AD0-41C2-8188-6397-D5B28C65EB30}"/>
              </a:ext>
            </a:extLst>
          </p:cNvPr>
          <p:cNvCxnSpPr/>
          <p:nvPr/>
        </p:nvCxnSpPr>
        <p:spPr>
          <a:xfrm>
            <a:off x="831089" y="1182398"/>
            <a:ext cx="0" cy="1247281"/>
          </a:xfrm>
          <a:prstGeom prst="line">
            <a:avLst/>
          </a:prstGeom>
          <a:ln w="571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20E6738-9675-21C2-5741-18B5AEFCE923}"/>
              </a:ext>
            </a:extLst>
          </p:cNvPr>
          <p:cNvSpPr txBox="1"/>
          <p:nvPr/>
        </p:nvSpPr>
        <p:spPr>
          <a:xfrm>
            <a:off x="1002752" y="107959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19</a:t>
            </a:r>
            <a:endParaRPr lang="en-GB" sz="160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DC235D6-B54D-EFCE-04C1-3A59CFC05F68}"/>
              </a:ext>
            </a:extLst>
          </p:cNvPr>
          <p:cNvSpPr txBox="1"/>
          <p:nvPr/>
        </p:nvSpPr>
        <p:spPr>
          <a:xfrm>
            <a:off x="979389" y="2257509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2</a:t>
            </a:r>
            <a:endParaRPr lang="en-GB" sz="1600" dirty="0" err="1"/>
          </a:p>
        </p:txBody>
      </p: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664E12AF-4312-A119-2C64-5E8DC97519B6}"/>
              </a:ext>
            </a:extLst>
          </p:cNvPr>
          <p:cNvCxnSpPr>
            <a:cxnSpLocks/>
          </p:cNvCxnSpPr>
          <p:nvPr/>
        </p:nvCxnSpPr>
        <p:spPr>
          <a:xfrm>
            <a:off x="831089" y="2403501"/>
            <a:ext cx="0" cy="943014"/>
          </a:xfrm>
          <a:prstGeom prst="line">
            <a:avLst/>
          </a:prstGeom>
          <a:ln w="57150" cmpd="sng">
            <a:solidFill>
              <a:schemeClr val="accent4">
                <a:lumMod val="60000"/>
                <a:lumOff val="4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3EE5C36-49F4-3687-E9D9-66DFF29D91B8}"/>
              </a:ext>
            </a:extLst>
          </p:cNvPr>
          <p:cNvSpPr txBox="1"/>
          <p:nvPr/>
        </p:nvSpPr>
        <p:spPr>
          <a:xfrm>
            <a:off x="1009788" y="3157571"/>
            <a:ext cx="86726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2024</a:t>
            </a:r>
            <a:endParaRPr lang="en-GB" sz="1600" dirty="0" err="1"/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6701352B-962D-53EF-E265-128D61605649}"/>
              </a:ext>
            </a:extLst>
          </p:cNvPr>
          <p:cNvCxnSpPr>
            <a:cxnSpLocks/>
          </p:cNvCxnSpPr>
          <p:nvPr/>
        </p:nvCxnSpPr>
        <p:spPr>
          <a:xfrm>
            <a:off x="834190" y="3346515"/>
            <a:ext cx="0" cy="943014"/>
          </a:xfrm>
          <a:prstGeom prst="line">
            <a:avLst/>
          </a:prstGeom>
          <a:ln w="57150" cmpd="sng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06A6B742-E33C-3DCA-C758-C939C60E37B8}"/>
              </a:ext>
            </a:extLst>
          </p:cNvPr>
          <p:cNvSpPr txBox="1"/>
          <p:nvPr/>
        </p:nvSpPr>
        <p:spPr>
          <a:xfrm>
            <a:off x="964056" y="4130819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8.2025</a:t>
            </a:r>
            <a:endParaRPr lang="en-GB" sz="1600" dirty="0" err="1"/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24F212F6-2CE2-7FDC-3EAE-7FEFE7E0AF75}"/>
              </a:ext>
            </a:extLst>
          </p:cNvPr>
          <p:cNvSpPr txBox="1"/>
          <p:nvPr/>
        </p:nvSpPr>
        <p:spPr>
          <a:xfrm>
            <a:off x="974603" y="4579878"/>
            <a:ext cx="101886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09.2025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081385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  <p:bldP spid="26" grpId="0"/>
      <p:bldP spid="27" grpId="0"/>
      <p:bldP spid="30" grpId="0"/>
      <p:bldP spid="33" grpId="0"/>
      <p:bldP spid="3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52E09-23D1-6E03-778C-2BFDA6547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3">
            <a:extLst>
              <a:ext uri="{FF2B5EF4-FFF2-40B4-BE49-F238E27FC236}">
                <a16:creationId xmlns:a16="http://schemas.microsoft.com/office/drawing/2014/main" id="{097685C3-CF1D-C7BD-0998-D53C08E0EB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IMPRS on Earth System Modelling | ALESSANDRO STORER	IMPRS </a:t>
            </a:r>
            <a:r>
              <a:rPr lang="de-DE" dirty="0" err="1"/>
              <a:t>retreat</a:t>
            </a:r>
            <a:r>
              <a:rPr lang="de-DE" dirty="0"/>
              <a:t> 2025 | 08.10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372369B-36D9-4A04-9250-F818EC5DEF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1558" y="904958"/>
            <a:ext cx="7881333" cy="5339637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4422DF9F-5ACD-D062-E923-B49C93AE86A2}"/>
              </a:ext>
            </a:extLst>
          </p:cNvPr>
          <p:cNvSpPr txBox="1"/>
          <p:nvPr/>
        </p:nvSpPr>
        <p:spPr>
          <a:xfrm>
            <a:off x="436250" y="2055409"/>
            <a:ext cx="369530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it-IT" dirty="0"/>
              <a:t>EUREC4A </a:t>
            </a:r>
            <a:r>
              <a:rPr lang="it-IT" dirty="0" err="1"/>
              <a:t>region</a:t>
            </a:r>
            <a:r>
              <a:rPr lang="it-IT" dirty="0"/>
              <a:t>         </a:t>
            </a:r>
            <a:r>
              <a:rPr lang="it-IT" dirty="0" err="1"/>
              <a:t>February</a:t>
            </a:r>
            <a:r>
              <a:rPr lang="it-IT" dirty="0"/>
              <a:t> 2020</a:t>
            </a:r>
          </a:p>
          <a:p>
            <a:pPr marL="342900" indent="-342900">
              <a:buAutoNum type="alphaLcParenR"/>
            </a:pPr>
            <a:endParaRPr lang="it-IT" dirty="0"/>
          </a:p>
          <a:p>
            <a:pPr marL="342900" indent="-342900">
              <a:buAutoNum type="alphaLcParenR"/>
            </a:pPr>
            <a:r>
              <a:rPr lang="it-IT" dirty="0"/>
              <a:t>High-res. WRF </a:t>
            </a:r>
            <a:r>
              <a:rPr lang="it-IT" dirty="0" err="1"/>
              <a:t>simulations</a:t>
            </a:r>
            <a:endParaRPr lang="it-IT" dirty="0"/>
          </a:p>
          <a:p>
            <a:endParaRPr lang="it-IT" dirty="0"/>
          </a:p>
          <a:p>
            <a:r>
              <a:rPr lang="it-IT" dirty="0"/>
              <a:t>c)   </a:t>
            </a:r>
            <a:r>
              <a:rPr lang="it-IT" dirty="0" err="1"/>
              <a:t>Fixed</a:t>
            </a:r>
            <a:r>
              <a:rPr lang="it-IT" dirty="0"/>
              <a:t> </a:t>
            </a:r>
            <a:r>
              <a:rPr lang="it-IT" dirty="0" err="1"/>
              <a:t>scales</a:t>
            </a:r>
            <a:r>
              <a:rPr lang="it-IT" dirty="0"/>
              <a:t> of </a:t>
            </a:r>
            <a:r>
              <a:rPr lang="it-IT" dirty="0" err="1"/>
              <a:t>interest</a:t>
            </a:r>
            <a:r>
              <a:rPr lang="it-IT" dirty="0"/>
              <a:t> </a:t>
            </a:r>
          </a:p>
          <a:p>
            <a:r>
              <a:rPr lang="it-IT" dirty="0"/>
              <a:t>      </a:t>
            </a:r>
            <a:r>
              <a:rPr lang="it-IT" b="1" dirty="0"/>
              <a:t>&lt; </a:t>
            </a:r>
            <a:r>
              <a:rPr lang="en-GB" b="1" dirty="0"/>
              <a:t>~</a:t>
            </a:r>
            <a:r>
              <a:rPr lang="it-IT" b="1" dirty="0"/>
              <a:t>200km</a:t>
            </a:r>
          </a:p>
          <a:p>
            <a:r>
              <a:rPr lang="it-IT" dirty="0">
                <a:sym typeface="Wingdings" panose="05000000000000000000" pitchFamily="2" charset="2"/>
              </a:rPr>
              <a:t>        correlate SST’ with</a:t>
            </a:r>
          </a:p>
          <a:p>
            <a:r>
              <a:rPr lang="it-IT" dirty="0">
                <a:sym typeface="Wingdings" panose="05000000000000000000" pitchFamily="2" charset="2"/>
              </a:rPr>
              <a:t>            </a:t>
            </a:r>
            <a:r>
              <a:rPr lang="it-IT" dirty="0" err="1">
                <a:sym typeface="Wingdings" panose="05000000000000000000" pitchFamily="2" charset="2"/>
              </a:rPr>
              <a:t>atmospheric</a:t>
            </a:r>
            <a:r>
              <a:rPr lang="it-IT" dirty="0">
                <a:sym typeface="Wingdings" panose="05000000000000000000" pitchFamily="2" charset="2"/>
              </a:rPr>
              <a:t> </a:t>
            </a:r>
            <a:r>
              <a:rPr lang="it-IT" dirty="0" err="1">
                <a:sym typeface="Wingdings" panose="05000000000000000000" pitchFamily="2" charset="2"/>
              </a:rPr>
              <a:t>ones</a:t>
            </a:r>
            <a:endParaRPr lang="it-IT" dirty="0">
              <a:sym typeface="Wingdings" panose="05000000000000000000" pitchFamily="2" charset="2"/>
            </a:endParaRPr>
          </a:p>
          <a:p>
            <a:endParaRPr lang="it-IT" dirty="0">
              <a:sym typeface="Wingdings" panose="05000000000000000000" pitchFamily="2" charset="2"/>
            </a:endParaRPr>
          </a:p>
          <a:p>
            <a:r>
              <a:rPr lang="it-IT" dirty="0">
                <a:sym typeface="Wingdings" panose="05000000000000000000" pitchFamily="2" charset="2"/>
              </a:rPr>
              <a:t>d)  SST – </a:t>
            </a:r>
            <a:r>
              <a:rPr lang="it-IT" dirty="0" err="1">
                <a:sym typeface="Wingdings" panose="05000000000000000000" pitchFamily="2" charset="2"/>
              </a:rPr>
              <a:t>Entrainment</a:t>
            </a:r>
            <a:r>
              <a:rPr lang="it-IT" dirty="0">
                <a:sym typeface="Wingdings" panose="05000000000000000000" pitchFamily="2" charset="2"/>
              </a:rPr>
              <a:t> </a:t>
            </a:r>
            <a:r>
              <a:rPr lang="it-IT" dirty="0" err="1">
                <a:sym typeface="Wingdings" panose="05000000000000000000" pitchFamily="2" charset="2"/>
              </a:rPr>
              <a:t>coupling</a:t>
            </a:r>
            <a:endParaRPr lang="en-GB" dirty="0"/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DA8C0589-10F3-E48D-27ED-46DAB1F42BC2}"/>
              </a:ext>
            </a:extLst>
          </p:cNvPr>
          <p:cNvCxnSpPr>
            <a:cxnSpLocks/>
          </p:cNvCxnSpPr>
          <p:nvPr/>
        </p:nvCxnSpPr>
        <p:spPr>
          <a:xfrm>
            <a:off x="767721" y="673748"/>
            <a:ext cx="6761173" cy="0"/>
          </a:xfrm>
          <a:prstGeom prst="line">
            <a:avLst/>
          </a:prstGeom>
          <a:ln w="38100"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7308724-B44F-95BD-910D-E1AF43873ECB}"/>
              </a:ext>
            </a:extLst>
          </p:cNvPr>
          <p:cNvSpPr txBox="1"/>
          <p:nvPr/>
        </p:nvSpPr>
        <p:spPr>
          <a:xfrm>
            <a:off x="582370" y="187647"/>
            <a:ext cx="7131873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esoscale Air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lumn</a:t>
            </a:r>
            <a:r>
              <a:rPr kumimoji="0" lang="it-IT" sz="2400" b="1" i="0" u="none" strike="noStrike" kern="600" cap="all" spc="140" normalizeH="0" baseline="0" noProof="0" dirty="0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it-IT" sz="2400" b="1" i="0" u="none" strike="noStrike" kern="600" cap="all" spc="140" normalizeH="0" baseline="0" noProof="0" dirty="0" err="1">
                <a:ln>
                  <a:noFill/>
                </a:ln>
                <a:solidFill>
                  <a:srgbClr val="005555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djustments</a:t>
            </a:r>
            <a:endParaRPr kumimoji="0" lang="en-GB" sz="2400" b="1" i="0" u="none" strike="noStrike" kern="600" cap="all" spc="140" normalizeH="0" baseline="0" noProof="0" dirty="0">
              <a:ln>
                <a:noFill/>
              </a:ln>
              <a:solidFill>
                <a:srgbClr val="005555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79540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5</TotalTime>
  <Words>966</Words>
  <Application>Microsoft Office PowerPoint</Application>
  <PresentationFormat>Widescreen</PresentationFormat>
  <Paragraphs>162</Paragraphs>
  <Slides>21</Slides>
  <Notes>6</Notes>
  <HiddenSlides>1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32" baseType="lpstr">
      <vt:lpstr>.SF NS Symbols Regular</vt:lpstr>
      <vt:lpstr>Aptos</vt:lpstr>
      <vt:lpstr>Aptos Display</vt:lpstr>
      <vt:lpstr>Arial</vt:lpstr>
      <vt:lpstr>Cambria Math</vt:lpstr>
      <vt:lpstr>Symbol</vt:lpstr>
      <vt:lpstr>Wingdings</vt:lpstr>
      <vt:lpstr>Wingdings 3</vt:lpstr>
      <vt:lpstr>Tema di Office</vt:lpstr>
      <vt:lpstr>MPG_2020</vt:lpstr>
      <vt:lpstr>think-cell Folie</vt:lpstr>
      <vt:lpstr>The role of surface turbulent fluxes in air-sea INTERACTIONS: Boundary layer – convection coupling across the tropical oceans</vt:lpstr>
      <vt:lpstr>Presentazione standard di PowerPoint</vt:lpstr>
      <vt:lpstr>Presentazione standard di PowerPoint</vt:lpstr>
      <vt:lpstr>Now, with this acquired knowledge…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o storer</dc:creator>
  <cp:lastModifiedBy>alessandro storer</cp:lastModifiedBy>
  <cp:revision>98</cp:revision>
  <cp:lastPrinted>2025-10-01T06:38:35Z</cp:lastPrinted>
  <dcterms:created xsi:type="dcterms:W3CDTF">2025-09-15T12:13:08Z</dcterms:created>
  <dcterms:modified xsi:type="dcterms:W3CDTF">2025-10-05T11:33:39Z</dcterms:modified>
</cp:coreProperties>
</file>